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3" r:id="rId4"/>
  </p:sldMasterIdLst>
  <p:notesMasterIdLst>
    <p:notesMasterId r:id="rId41"/>
  </p:notesMasterIdLst>
  <p:sldIdLst>
    <p:sldId id="256" r:id="rId5"/>
    <p:sldId id="320" r:id="rId6"/>
    <p:sldId id="258" r:id="rId7"/>
    <p:sldId id="261" r:id="rId8"/>
    <p:sldId id="260" r:id="rId9"/>
    <p:sldId id="349" r:id="rId10"/>
    <p:sldId id="318" r:id="rId11"/>
    <p:sldId id="266" r:id="rId12"/>
    <p:sldId id="264" r:id="rId13"/>
    <p:sldId id="344" r:id="rId14"/>
    <p:sldId id="322" r:id="rId15"/>
    <p:sldId id="314" r:id="rId16"/>
    <p:sldId id="272" r:id="rId17"/>
    <p:sldId id="263" r:id="rId18"/>
    <p:sldId id="316" r:id="rId19"/>
    <p:sldId id="317" r:id="rId20"/>
    <p:sldId id="323" r:id="rId21"/>
    <p:sldId id="319" r:id="rId22"/>
    <p:sldId id="324" r:id="rId23"/>
    <p:sldId id="347" r:id="rId24"/>
    <p:sldId id="336" r:id="rId25"/>
    <p:sldId id="285" r:id="rId26"/>
    <p:sldId id="338" r:id="rId27"/>
    <p:sldId id="339" r:id="rId28"/>
    <p:sldId id="340" r:id="rId29"/>
    <p:sldId id="341" r:id="rId30"/>
    <p:sldId id="288" r:id="rId31"/>
    <p:sldId id="348" r:id="rId32"/>
    <p:sldId id="345" r:id="rId33"/>
    <p:sldId id="295" r:id="rId34"/>
    <p:sldId id="343" r:id="rId35"/>
    <p:sldId id="350" r:id="rId36"/>
    <p:sldId id="332" r:id="rId37"/>
    <p:sldId id="325" r:id="rId38"/>
    <p:sldId id="329" r:id="rId39"/>
    <p:sldId id="335" r:id="rId40"/>
  </p:sldIdLst>
  <p:sldSz cx="9144000" cy="5143500" type="screen16x9"/>
  <p:notesSz cx="6858000" cy="9144000"/>
  <p:embeddedFontLst>
    <p:embeddedFont>
      <p:font typeface="DM Sans" panose="020B0604020202020204" charset="0"/>
      <p:regular r:id="rId42"/>
      <p:bold r:id="rId43"/>
      <p:italic r:id="rId44"/>
      <p:boldItalic r:id="rId45"/>
    </p:embeddedFont>
    <p:embeddedFont>
      <p:font typeface="Georgia" panose="02040502050405020303" pitchFamily="18" charset="0"/>
      <p:regular r:id="rId46"/>
      <p:bold r:id="rId47"/>
      <p:italic r:id="rId48"/>
      <p:boldItalic r:id="rId49"/>
    </p:embeddedFont>
    <p:embeddedFont>
      <p:font typeface="Inter" panose="020B0604020202020204" charset="0"/>
      <p:regular r:id="rId50"/>
      <p:bold r:id="rId51"/>
      <p:italic r:id="rId52"/>
      <p:boldItalic r:id="rId53"/>
    </p:embeddedFont>
  </p:embeddedFontLst>
  <p:custDataLst>
    <p:tags r:id="rId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06E3F129-A225-4140-BF37-CA732A6A25B6}">
          <p14:sldIdLst>
            <p14:sldId id="256"/>
            <p14:sldId id="320"/>
            <p14:sldId id="258"/>
            <p14:sldId id="261"/>
            <p14:sldId id="260"/>
            <p14:sldId id="349"/>
            <p14:sldId id="318"/>
            <p14:sldId id="266"/>
            <p14:sldId id="264"/>
            <p14:sldId id="344"/>
            <p14:sldId id="322"/>
            <p14:sldId id="314"/>
            <p14:sldId id="272"/>
            <p14:sldId id="263"/>
            <p14:sldId id="316"/>
            <p14:sldId id="317"/>
            <p14:sldId id="323"/>
            <p14:sldId id="319"/>
            <p14:sldId id="324"/>
            <p14:sldId id="347"/>
            <p14:sldId id="336"/>
            <p14:sldId id="285"/>
            <p14:sldId id="338"/>
            <p14:sldId id="339"/>
            <p14:sldId id="340"/>
            <p14:sldId id="341"/>
            <p14:sldId id="288"/>
            <p14:sldId id="348"/>
            <p14:sldId id="345"/>
            <p14:sldId id="295"/>
            <p14:sldId id="343"/>
            <p14:sldId id="350"/>
            <p14:sldId id="332"/>
            <p14:sldId id="325"/>
            <p14:sldId id="329"/>
            <p14:sldId id="335"/>
          </p14:sldIdLst>
        </p14:section>
        <p14:section name="Untitled Section" id="{82315378-19B1-8A4F-BBA8-BEFC96997CFF}">
          <p14:sldIdLst/>
        </p14:section>
      </p14:sectionLst>
    </p:ext>
    <p:ext uri="{EFAFB233-063F-42B5-8137-9DF3F51BA10A}">
      <p15:sldGuideLst xmlns:p15="http://schemas.microsoft.com/office/powerpoint/2012/main">
        <p15:guide id="1" pos="416" userDrawn="1">
          <p15:clr>
            <a:srgbClr val="A4A3A4"/>
          </p15:clr>
        </p15:guide>
        <p15:guide id="2" orient="horz" pos="16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33CD5D-767A-2EF2-02E5-4D37B990506F}" name="Jiayi Deng" initials="JD" userId="S::jiayideng@UCHICAGO.EDU::1a00fe64-c1f9-48ee-8835-dcb79118203c" providerId="AD"/>
  <p188:author id="{2AD10594-EDAE-3A99-6EA9-98389EB8FC9D}" name="Jessy Hu" initials="JH" userId="S::jiaqi722@UCHICAGO.EDU::f2d34ac4-8535-4a4b-87f4-a2602f82559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AC2B4"/>
    <a:srgbClr val="EEEBE7"/>
    <a:srgbClr val="861A60"/>
    <a:srgbClr val="AE227C"/>
    <a:srgbClr val="C85478"/>
    <a:srgbClr val="A33558"/>
    <a:srgbClr val="D99BA8"/>
    <a:srgbClr val="C25D72"/>
    <a:srgbClr val="E0A48F"/>
    <a:srgbClr val="7E2C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68937E-7146-274F-B1CF-5E05B3741284}" v="4131" dt="2023-12-08T23:30:33.708"/>
    <p1510:client id="{522F214E-D6DA-4AAC-AA10-B83ABC252EDB}" v="126" dt="2023-12-08T09:34:07.836"/>
    <p1510:client id="{604AAA28-F7AD-C444-812E-A9D6E845AE59}" v="936" dt="2023-12-08T23:27:23.470"/>
    <p1510:client id="{704A293E-8E4F-144B-A434-111D8152FA5D}" v="882" dt="2023-12-08T23:30:19.292"/>
    <p1510:client id="{8A3A2A9A-0BB4-4323-8D44-19D717389A33}" v="31" dt="2023-12-08T08:19:53.679"/>
    <p1510:client id="{A118F105-849A-486C-BD58-FBD20FF97BAF}" v="1" dt="2023-12-08T23:26:13.961"/>
    <p1510:client id="{BF06A060-7D29-4C2E-824A-1D92F5DE8611}" v="256" dt="2023-12-08T09:30:22.914"/>
  </p1510:revLst>
</p1510:revInfo>
</file>

<file path=ppt/tableStyles.xml><?xml version="1.0" encoding="utf-8"?>
<a:tblStyleLst xmlns:a="http://schemas.openxmlformats.org/drawingml/2006/main" def="{E602CF2A-B425-4F04-ACD5-14158CAF9B8D}">
  <a:tblStyle styleId="{E602CF2A-B425-4F04-ACD5-14158CAF9B8D}"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416"/>
        <p:guide orient="horz" pos="162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tableStyles" Target="tableStyle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notesMaster" Target="notesMasters/notesMaster1.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iwen Song" userId="facb385f-c87f-4c4b-9d46-8fc59bab364f" providerId="ADAL" clId="{604AAA28-F7AD-C444-812E-A9D6E845AE59}"/>
    <pc:docChg chg="undo custSel addSld delSld modSld sldOrd addSection delSection modSection">
      <pc:chgData name="Yiwen Song" userId="facb385f-c87f-4c4b-9d46-8fc59bab364f" providerId="ADAL" clId="{604AAA28-F7AD-C444-812E-A9D6E845AE59}" dt="2023-12-08T23:27:23.471" v="930" actId="729"/>
      <pc:docMkLst>
        <pc:docMk/>
      </pc:docMkLst>
      <pc:sldChg chg="modNotesTx">
        <pc:chgData name="Yiwen Song" userId="facb385f-c87f-4c4b-9d46-8fc59bab364f" providerId="ADAL" clId="{604AAA28-F7AD-C444-812E-A9D6E845AE59}" dt="2023-12-08T22:37:46.434" v="911" actId="20577"/>
        <pc:sldMkLst>
          <pc:docMk/>
          <pc:sldMk cId="0" sldId="256"/>
        </pc:sldMkLst>
      </pc:sldChg>
      <pc:sldChg chg="modNotesTx">
        <pc:chgData name="Yiwen Song" userId="facb385f-c87f-4c4b-9d46-8fc59bab364f" providerId="ADAL" clId="{604AAA28-F7AD-C444-812E-A9D6E845AE59}" dt="2023-12-08T05:32:35.014" v="786" actId="20577"/>
        <pc:sldMkLst>
          <pc:docMk/>
          <pc:sldMk cId="0" sldId="258"/>
        </pc:sldMkLst>
      </pc:sldChg>
      <pc:sldChg chg="modNotesTx">
        <pc:chgData name="Yiwen Song" userId="facb385f-c87f-4c4b-9d46-8fc59bab364f" providerId="ADAL" clId="{604AAA28-F7AD-C444-812E-A9D6E845AE59}" dt="2023-12-08T05:42:06.446" v="799" actId="20577"/>
        <pc:sldMkLst>
          <pc:docMk/>
          <pc:sldMk cId="0" sldId="260"/>
        </pc:sldMkLst>
      </pc:sldChg>
      <pc:sldChg chg="modNotesTx">
        <pc:chgData name="Yiwen Song" userId="facb385f-c87f-4c4b-9d46-8fc59bab364f" providerId="ADAL" clId="{604AAA28-F7AD-C444-812E-A9D6E845AE59}" dt="2023-12-08T05:32:51.179" v="788" actId="20577"/>
        <pc:sldMkLst>
          <pc:docMk/>
          <pc:sldMk cId="0" sldId="261"/>
        </pc:sldMkLst>
      </pc:sldChg>
      <pc:sldChg chg="modNotesTx">
        <pc:chgData name="Yiwen Song" userId="facb385f-c87f-4c4b-9d46-8fc59bab364f" providerId="ADAL" clId="{604AAA28-F7AD-C444-812E-A9D6E845AE59}" dt="2023-12-08T05:46:30.373" v="805" actId="20577"/>
        <pc:sldMkLst>
          <pc:docMk/>
          <pc:sldMk cId="1509561868" sldId="318"/>
        </pc:sldMkLst>
      </pc:sldChg>
      <pc:sldChg chg="modNotesTx">
        <pc:chgData name="Yiwen Song" userId="facb385f-c87f-4c4b-9d46-8fc59bab364f" providerId="ADAL" clId="{604AAA28-F7AD-C444-812E-A9D6E845AE59}" dt="2023-12-08T21:52:17.896" v="829" actId="20577"/>
        <pc:sldMkLst>
          <pc:docMk/>
          <pc:sldMk cId="0" sldId="320"/>
        </pc:sldMkLst>
      </pc:sldChg>
      <pc:sldChg chg="addSp delSp modSp mod modNotesTx">
        <pc:chgData name="Yiwen Song" userId="facb385f-c87f-4c4b-9d46-8fc59bab364f" providerId="ADAL" clId="{604AAA28-F7AD-C444-812E-A9D6E845AE59}" dt="2023-12-08T21:57:22.628" v="893" actId="20577"/>
        <pc:sldMkLst>
          <pc:docMk/>
          <pc:sldMk cId="3942716630" sldId="324"/>
        </pc:sldMkLst>
        <pc:spChg chg="add del mod">
          <ac:chgData name="Yiwen Song" userId="facb385f-c87f-4c4b-9d46-8fc59bab364f" providerId="ADAL" clId="{604AAA28-F7AD-C444-812E-A9D6E845AE59}" dt="2023-12-08T00:56:59.491" v="548" actId="478"/>
          <ac:spMkLst>
            <pc:docMk/>
            <pc:sldMk cId="3942716630" sldId="324"/>
            <ac:spMk id="2" creationId="{4DD964DB-2A3B-2F46-AEF7-DDD83436133A}"/>
          </ac:spMkLst>
        </pc:spChg>
        <pc:spChg chg="mod">
          <ac:chgData name="Yiwen Song" userId="facb385f-c87f-4c4b-9d46-8fc59bab364f" providerId="ADAL" clId="{604AAA28-F7AD-C444-812E-A9D6E845AE59}" dt="2023-12-08T01:01:00.736" v="568" actId="1035"/>
          <ac:spMkLst>
            <pc:docMk/>
            <pc:sldMk cId="3942716630" sldId="324"/>
            <ac:spMk id="8" creationId="{8530242F-1C71-BF70-EA91-BCDB28CDDCF4}"/>
          </ac:spMkLst>
        </pc:spChg>
        <pc:spChg chg="mod">
          <ac:chgData name="Yiwen Song" userId="facb385f-c87f-4c4b-9d46-8fc59bab364f" providerId="ADAL" clId="{604AAA28-F7AD-C444-812E-A9D6E845AE59}" dt="2023-12-08T01:01:00.736" v="568" actId="1035"/>
          <ac:spMkLst>
            <pc:docMk/>
            <pc:sldMk cId="3942716630" sldId="324"/>
            <ac:spMk id="9" creationId="{6D165CDF-7CB6-2A47-57BC-FB2C2F8673C5}"/>
          </ac:spMkLst>
        </pc:spChg>
        <pc:spChg chg="mod">
          <ac:chgData name="Yiwen Song" userId="facb385f-c87f-4c4b-9d46-8fc59bab364f" providerId="ADAL" clId="{604AAA28-F7AD-C444-812E-A9D6E845AE59}" dt="2023-12-08T01:01:00.736" v="568" actId="1035"/>
          <ac:spMkLst>
            <pc:docMk/>
            <pc:sldMk cId="3942716630" sldId="324"/>
            <ac:spMk id="11" creationId="{2E9E12C9-E803-846F-3D53-6C8FD672385D}"/>
          </ac:spMkLst>
        </pc:spChg>
        <pc:spChg chg="mod">
          <ac:chgData name="Yiwen Song" userId="facb385f-c87f-4c4b-9d46-8fc59bab364f" providerId="ADAL" clId="{604AAA28-F7AD-C444-812E-A9D6E845AE59}" dt="2023-12-08T01:01:00.736" v="568" actId="1035"/>
          <ac:spMkLst>
            <pc:docMk/>
            <pc:sldMk cId="3942716630" sldId="324"/>
            <ac:spMk id="12" creationId="{6F3F0E8B-D628-9C29-84A6-1CDB91ABFB0D}"/>
          </ac:spMkLst>
        </pc:spChg>
        <pc:spChg chg="add del mod">
          <ac:chgData name="Yiwen Song" userId="facb385f-c87f-4c4b-9d46-8fc59bab364f" providerId="ADAL" clId="{604AAA28-F7AD-C444-812E-A9D6E845AE59}" dt="2023-12-08T00:55:45.182" v="542" actId="478"/>
          <ac:spMkLst>
            <pc:docMk/>
            <pc:sldMk cId="3942716630" sldId="324"/>
            <ac:spMk id="17" creationId="{6C716FAB-5352-E14C-A671-CE857A0ECA96}"/>
          </ac:spMkLst>
        </pc:spChg>
        <pc:spChg chg="add mod">
          <ac:chgData name="Yiwen Song" userId="facb385f-c87f-4c4b-9d46-8fc59bab364f" providerId="ADAL" clId="{604AAA28-F7AD-C444-812E-A9D6E845AE59}" dt="2023-12-08T01:01:27.567" v="569" actId="1076"/>
          <ac:spMkLst>
            <pc:docMk/>
            <pc:sldMk cId="3942716630" sldId="324"/>
            <ac:spMk id="18" creationId="{DA3086A6-F338-AB4C-80D2-F0D4F02583E0}"/>
          </ac:spMkLst>
        </pc:spChg>
        <pc:spChg chg="add del mod">
          <ac:chgData name="Yiwen Song" userId="facb385f-c87f-4c4b-9d46-8fc59bab364f" providerId="ADAL" clId="{604AAA28-F7AD-C444-812E-A9D6E845AE59}" dt="2023-12-08T00:09:30.259" v="263" actId="478"/>
          <ac:spMkLst>
            <pc:docMk/>
            <pc:sldMk cId="3942716630" sldId="324"/>
            <ac:spMk id="60" creationId="{E4571A93-A5D2-8248-B38C-D128B4D4FA88}"/>
          </ac:spMkLst>
        </pc:spChg>
        <pc:spChg chg="add mod">
          <ac:chgData name="Yiwen Song" userId="facb385f-c87f-4c4b-9d46-8fc59bab364f" providerId="ADAL" clId="{604AAA28-F7AD-C444-812E-A9D6E845AE59}" dt="2023-12-08T01:01:00.736" v="568" actId="1035"/>
          <ac:spMkLst>
            <pc:docMk/>
            <pc:sldMk cId="3942716630" sldId="324"/>
            <ac:spMk id="61" creationId="{83E5B6F2-B383-6041-9718-2F3AB076A0BF}"/>
          </ac:spMkLst>
        </pc:spChg>
        <pc:grpChg chg="mod">
          <ac:chgData name="Yiwen Song" userId="facb385f-c87f-4c4b-9d46-8fc59bab364f" providerId="ADAL" clId="{604AAA28-F7AD-C444-812E-A9D6E845AE59}" dt="2023-12-08T01:01:00.736" v="568" actId="1035"/>
          <ac:grpSpMkLst>
            <pc:docMk/>
            <pc:sldMk cId="3942716630" sldId="324"/>
            <ac:grpSpMk id="53" creationId="{7C7C4D38-E918-2452-783F-118DFC526888}"/>
          </ac:grpSpMkLst>
        </pc:grpChg>
        <pc:grpChg chg="mod">
          <ac:chgData name="Yiwen Song" userId="facb385f-c87f-4c4b-9d46-8fc59bab364f" providerId="ADAL" clId="{604AAA28-F7AD-C444-812E-A9D6E845AE59}" dt="2023-12-08T01:01:00.736" v="568" actId="1035"/>
          <ac:grpSpMkLst>
            <pc:docMk/>
            <pc:sldMk cId="3942716630" sldId="324"/>
            <ac:grpSpMk id="57" creationId="{1F73DE60-D84C-CF83-4603-AAD544E5D428}"/>
          </ac:grpSpMkLst>
        </pc:grpChg>
        <pc:picChg chg="mod">
          <ac:chgData name="Yiwen Song" userId="facb385f-c87f-4c4b-9d46-8fc59bab364f" providerId="ADAL" clId="{604AAA28-F7AD-C444-812E-A9D6E845AE59}" dt="2023-12-08T01:01:00.736" v="568" actId="1035"/>
          <ac:picMkLst>
            <pc:docMk/>
            <pc:sldMk cId="3942716630" sldId="324"/>
            <ac:picMk id="5" creationId="{E70BE5D8-47D6-A77D-5D9F-4D40DA5B7228}"/>
          </ac:picMkLst>
        </pc:picChg>
        <pc:picChg chg="mod">
          <ac:chgData name="Yiwen Song" userId="facb385f-c87f-4c4b-9d46-8fc59bab364f" providerId="ADAL" clId="{604AAA28-F7AD-C444-812E-A9D6E845AE59}" dt="2023-12-08T01:01:00.736" v="568" actId="1035"/>
          <ac:picMkLst>
            <pc:docMk/>
            <pc:sldMk cId="3942716630" sldId="324"/>
            <ac:picMk id="6" creationId="{C21B313D-7655-A550-9EB9-B89FCB289809}"/>
          </ac:picMkLst>
        </pc:picChg>
      </pc:sldChg>
      <pc:sldChg chg="mod ord modShow">
        <pc:chgData name="Yiwen Song" userId="facb385f-c87f-4c4b-9d46-8fc59bab364f" providerId="ADAL" clId="{604AAA28-F7AD-C444-812E-A9D6E845AE59}" dt="2023-12-08T23:27:18.634" v="928" actId="729"/>
        <pc:sldMkLst>
          <pc:docMk/>
          <pc:sldMk cId="2982519754" sldId="325"/>
        </pc:sldMkLst>
      </pc:sldChg>
      <pc:sldChg chg="addSp modSp del mod">
        <pc:chgData name="Yiwen Song" userId="facb385f-c87f-4c4b-9d46-8fc59bab364f" providerId="ADAL" clId="{604AAA28-F7AD-C444-812E-A9D6E845AE59}" dt="2023-12-06T20:31:52.018" v="213" actId="2696"/>
        <pc:sldMkLst>
          <pc:docMk/>
          <pc:sldMk cId="2094757303" sldId="328"/>
        </pc:sldMkLst>
        <pc:spChg chg="add mod">
          <ac:chgData name="Yiwen Song" userId="facb385f-c87f-4c4b-9d46-8fc59bab364f" providerId="ADAL" clId="{604AAA28-F7AD-C444-812E-A9D6E845AE59}" dt="2023-12-06T20:29:41.216" v="201" actId="1076"/>
          <ac:spMkLst>
            <pc:docMk/>
            <pc:sldMk cId="2094757303" sldId="328"/>
            <ac:spMk id="2" creationId="{351A01DD-183E-A948-A23A-F68DC42D04A1}"/>
          </ac:spMkLst>
        </pc:spChg>
        <pc:picChg chg="mod modCrop">
          <ac:chgData name="Yiwen Song" userId="facb385f-c87f-4c4b-9d46-8fc59bab364f" providerId="ADAL" clId="{604AAA28-F7AD-C444-812E-A9D6E845AE59}" dt="2023-12-06T20:30:31.847" v="207" actId="732"/>
          <ac:picMkLst>
            <pc:docMk/>
            <pc:sldMk cId="2094757303" sldId="328"/>
            <ac:picMk id="6" creationId="{73D76E67-4B62-0D0F-729B-03FDA2D47C29}"/>
          </ac:picMkLst>
        </pc:picChg>
      </pc:sldChg>
      <pc:sldChg chg="addSp delSp modSp mod ord modShow">
        <pc:chgData name="Yiwen Song" userId="facb385f-c87f-4c4b-9d46-8fc59bab364f" providerId="ADAL" clId="{604AAA28-F7AD-C444-812E-A9D6E845AE59}" dt="2023-12-08T23:27:21.435" v="929" actId="729"/>
        <pc:sldMkLst>
          <pc:docMk/>
          <pc:sldMk cId="1477015974" sldId="329"/>
        </pc:sldMkLst>
        <pc:spChg chg="del">
          <ac:chgData name="Yiwen Song" userId="facb385f-c87f-4c4b-9d46-8fc59bab364f" providerId="ADAL" clId="{604AAA28-F7AD-C444-812E-A9D6E845AE59}" dt="2023-12-06T19:42:21.466" v="5" actId="478"/>
          <ac:spMkLst>
            <pc:docMk/>
            <pc:sldMk cId="1477015974" sldId="329"/>
            <ac:spMk id="2" creationId="{89626C37-9D4C-EE0D-C5D0-F5960378E4FF}"/>
          </ac:spMkLst>
        </pc:spChg>
        <pc:spChg chg="del mod">
          <ac:chgData name="Yiwen Song" userId="facb385f-c87f-4c4b-9d46-8fc59bab364f" providerId="ADAL" clId="{604AAA28-F7AD-C444-812E-A9D6E845AE59}" dt="2023-12-06T19:42:02.095" v="2" actId="478"/>
          <ac:spMkLst>
            <pc:docMk/>
            <pc:sldMk cId="1477015974" sldId="329"/>
            <ac:spMk id="3" creationId="{31FF2DDB-32A7-BFF5-EE1C-9C637669AB8C}"/>
          </ac:spMkLst>
        </pc:spChg>
        <pc:spChg chg="del">
          <ac:chgData name="Yiwen Song" userId="facb385f-c87f-4c4b-9d46-8fc59bab364f" providerId="ADAL" clId="{604AAA28-F7AD-C444-812E-A9D6E845AE59}" dt="2023-12-06T19:42:24.697" v="6" actId="478"/>
          <ac:spMkLst>
            <pc:docMk/>
            <pc:sldMk cId="1477015974" sldId="329"/>
            <ac:spMk id="4" creationId="{94F2316B-88E3-D767-79D2-A70329F59BD8}"/>
          </ac:spMkLst>
        </pc:spChg>
        <pc:spChg chg="add mod">
          <ac:chgData name="Yiwen Song" userId="facb385f-c87f-4c4b-9d46-8fc59bab364f" providerId="ADAL" clId="{604AAA28-F7AD-C444-812E-A9D6E845AE59}" dt="2023-12-06T19:43:44.121" v="28" actId="404"/>
          <ac:spMkLst>
            <pc:docMk/>
            <pc:sldMk cId="1477015974" sldId="329"/>
            <ac:spMk id="5" creationId="{D43545AB-1174-5C4B-9849-2B6FB30BC529}"/>
          </ac:spMkLst>
        </pc:spChg>
        <pc:picChg chg="mod">
          <ac:chgData name="Yiwen Song" userId="facb385f-c87f-4c4b-9d46-8fc59bab364f" providerId="ADAL" clId="{604AAA28-F7AD-C444-812E-A9D6E845AE59}" dt="2023-12-06T19:43:47.345" v="29" actId="1076"/>
          <ac:picMkLst>
            <pc:docMk/>
            <pc:sldMk cId="1477015974" sldId="329"/>
            <ac:picMk id="6" creationId="{A1B0406C-A07E-930C-23EE-B4B533913BFE}"/>
          </ac:picMkLst>
        </pc:picChg>
      </pc:sldChg>
      <pc:sldChg chg="addSp delSp modSp del mod">
        <pc:chgData name="Yiwen Song" userId="facb385f-c87f-4c4b-9d46-8fc59bab364f" providerId="ADAL" clId="{604AAA28-F7AD-C444-812E-A9D6E845AE59}" dt="2023-12-08T00:43:45.681" v="517" actId="2696"/>
        <pc:sldMkLst>
          <pc:docMk/>
          <pc:sldMk cId="3040852889" sldId="330"/>
        </pc:sldMkLst>
        <pc:spChg chg="del">
          <ac:chgData name="Yiwen Song" userId="facb385f-c87f-4c4b-9d46-8fc59bab364f" providerId="ADAL" clId="{604AAA28-F7AD-C444-812E-A9D6E845AE59}" dt="2023-12-06T19:46:57.187" v="41" actId="478"/>
          <ac:spMkLst>
            <pc:docMk/>
            <pc:sldMk cId="3040852889" sldId="330"/>
            <ac:spMk id="2" creationId="{E0F85D8E-D1EB-07E7-21EF-AB13AEE68DFD}"/>
          </ac:spMkLst>
        </pc:spChg>
        <pc:spChg chg="add del mod">
          <ac:chgData name="Yiwen Song" userId="facb385f-c87f-4c4b-9d46-8fc59bab364f" providerId="ADAL" clId="{604AAA28-F7AD-C444-812E-A9D6E845AE59}" dt="2023-12-08T00:16:42.225" v="360" actId="20577"/>
          <ac:spMkLst>
            <pc:docMk/>
            <pc:sldMk cId="3040852889" sldId="330"/>
            <ac:spMk id="3" creationId="{85B7D6EF-E7B7-8F31-9B1C-AA9D02947914}"/>
          </ac:spMkLst>
        </pc:spChg>
        <pc:spChg chg="del">
          <ac:chgData name="Yiwen Song" userId="facb385f-c87f-4c4b-9d46-8fc59bab364f" providerId="ADAL" clId="{604AAA28-F7AD-C444-812E-A9D6E845AE59}" dt="2023-12-06T19:46:55.615" v="40" actId="478"/>
          <ac:spMkLst>
            <pc:docMk/>
            <pc:sldMk cId="3040852889" sldId="330"/>
            <ac:spMk id="4" creationId="{33E2A99A-3A6D-6BE4-F8F7-0B3764A0779E}"/>
          </ac:spMkLst>
        </pc:spChg>
        <pc:spChg chg="add del mod">
          <ac:chgData name="Yiwen Song" userId="facb385f-c87f-4c4b-9d46-8fc59bab364f" providerId="ADAL" clId="{604AAA28-F7AD-C444-812E-A9D6E845AE59}" dt="2023-12-08T00:16:41.859" v="358" actId="478"/>
          <ac:spMkLst>
            <pc:docMk/>
            <pc:sldMk cId="3040852889" sldId="330"/>
            <ac:spMk id="5" creationId="{5C0C6643-27BF-A34E-9F27-4E620C9EA81E}"/>
          </ac:spMkLst>
        </pc:spChg>
        <pc:spChg chg="add mod">
          <ac:chgData name="Yiwen Song" userId="facb385f-c87f-4c4b-9d46-8fc59bab364f" providerId="ADAL" clId="{604AAA28-F7AD-C444-812E-A9D6E845AE59}" dt="2023-12-07T20:13:22.832" v="214" actId="20577"/>
          <ac:spMkLst>
            <pc:docMk/>
            <pc:sldMk cId="3040852889" sldId="330"/>
            <ac:spMk id="5" creationId="{99CDEBA7-3BF1-2C4C-9C56-A33890B47DDD}"/>
          </ac:spMkLst>
        </pc:spChg>
        <pc:spChg chg="add mod">
          <ac:chgData name="Yiwen Song" userId="facb385f-c87f-4c4b-9d46-8fc59bab364f" providerId="ADAL" clId="{604AAA28-F7AD-C444-812E-A9D6E845AE59}" dt="2023-12-08T00:18:57.668" v="474" actId="14100"/>
          <ac:spMkLst>
            <pc:docMk/>
            <pc:sldMk cId="3040852889" sldId="330"/>
            <ac:spMk id="8" creationId="{B57A19FB-1C17-304E-86D6-EB46D6814550}"/>
          </ac:spMkLst>
        </pc:spChg>
        <pc:picChg chg="add del mod modCrop">
          <ac:chgData name="Yiwen Song" userId="facb385f-c87f-4c4b-9d46-8fc59bab364f" providerId="ADAL" clId="{604AAA28-F7AD-C444-812E-A9D6E845AE59}" dt="2023-12-06T19:50:12.605" v="73" actId="1036"/>
          <ac:picMkLst>
            <pc:docMk/>
            <pc:sldMk cId="3040852889" sldId="330"/>
            <ac:picMk id="6" creationId="{AF559F07-E1D8-3DB3-1407-ABC11AC4B717}"/>
          </ac:picMkLst>
        </pc:picChg>
        <pc:picChg chg="add del mod">
          <ac:chgData name="Yiwen Song" userId="facb385f-c87f-4c4b-9d46-8fc59bab364f" providerId="ADAL" clId="{604AAA28-F7AD-C444-812E-A9D6E845AE59}" dt="2023-12-06T19:50:12.605" v="73" actId="1036"/>
          <ac:picMkLst>
            <pc:docMk/>
            <pc:sldMk cId="3040852889" sldId="330"/>
            <ac:picMk id="7" creationId="{725EBF85-A6B2-254D-83B9-1D915D5DD0BD}"/>
          </ac:picMkLst>
        </pc:picChg>
      </pc:sldChg>
      <pc:sldChg chg="addSp delSp modSp del">
        <pc:chgData name="Yiwen Song" userId="facb385f-c87f-4c4b-9d46-8fc59bab364f" providerId="ADAL" clId="{604AAA28-F7AD-C444-812E-A9D6E845AE59}" dt="2023-12-06T20:27:50.988" v="200" actId="2696"/>
        <pc:sldMkLst>
          <pc:docMk/>
          <pc:sldMk cId="948410504" sldId="331"/>
        </pc:sldMkLst>
        <pc:picChg chg="add">
          <ac:chgData name="Yiwen Song" userId="facb385f-c87f-4c4b-9d46-8fc59bab364f" providerId="ADAL" clId="{604AAA28-F7AD-C444-812E-A9D6E845AE59}" dt="2023-12-06T20:16:05.274" v="185"/>
          <ac:picMkLst>
            <pc:docMk/>
            <pc:sldMk cId="948410504" sldId="331"/>
            <ac:picMk id="2" creationId="{0C579348-A856-324F-BBFB-ED5B72C41964}"/>
          </ac:picMkLst>
        </pc:picChg>
        <pc:picChg chg="del mod">
          <ac:chgData name="Yiwen Song" userId="facb385f-c87f-4c4b-9d46-8fc59bab364f" providerId="ADAL" clId="{604AAA28-F7AD-C444-812E-A9D6E845AE59}" dt="2023-12-06T19:50:41.107" v="78" actId="478"/>
          <ac:picMkLst>
            <pc:docMk/>
            <pc:sldMk cId="948410504" sldId="331"/>
            <ac:picMk id="1026" creationId="{7F0A5999-B634-5764-015E-158055D2017B}"/>
          </ac:picMkLst>
        </pc:picChg>
      </pc:sldChg>
      <pc:sldChg chg="addSp delSp modSp mod ord modShow">
        <pc:chgData name="Yiwen Song" userId="facb385f-c87f-4c4b-9d46-8fc59bab364f" providerId="ADAL" clId="{604AAA28-F7AD-C444-812E-A9D6E845AE59}" dt="2023-12-08T23:27:14.384" v="927" actId="729"/>
        <pc:sldMkLst>
          <pc:docMk/>
          <pc:sldMk cId="1729623834" sldId="332"/>
        </pc:sldMkLst>
        <pc:spChg chg="del">
          <ac:chgData name="Yiwen Song" userId="facb385f-c87f-4c4b-9d46-8fc59bab364f" providerId="ADAL" clId="{604AAA28-F7AD-C444-812E-A9D6E845AE59}" dt="2023-12-06T19:51:22.272" v="80" actId="478"/>
          <ac:spMkLst>
            <pc:docMk/>
            <pc:sldMk cId="1729623834" sldId="332"/>
            <ac:spMk id="2" creationId="{46B8567C-6452-F132-50DB-40F53EE73948}"/>
          </ac:spMkLst>
        </pc:spChg>
        <pc:spChg chg="del">
          <ac:chgData name="Yiwen Song" userId="facb385f-c87f-4c4b-9d46-8fc59bab364f" providerId="ADAL" clId="{604AAA28-F7AD-C444-812E-A9D6E845AE59}" dt="2023-12-06T19:51:22.272" v="80" actId="478"/>
          <ac:spMkLst>
            <pc:docMk/>
            <pc:sldMk cId="1729623834" sldId="332"/>
            <ac:spMk id="3" creationId="{912EDB9D-26C6-1255-F287-8A30B2F3856B}"/>
          </ac:spMkLst>
        </pc:spChg>
        <pc:spChg chg="del">
          <ac:chgData name="Yiwen Song" userId="facb385f-c87f-4c4b-9d46-8fc59bab364f" providerId="ADAL" clId="{604AAA28-F7AD-C444-812E-A9D6E845AE59}" dt="2023-12-06T19:51:22.272" v="80" actId="478"/>
          <ac:spMkLst>
            <pc:docMk/>
            <pc:sldMk cId="1729623834" sldId="332"/>
            <ac:spMk id="4" creationId="{90F56857-C836-CC26-F8F7-119D0295E71F}"/>
          </ac:spMkLst>
        </pc:spChg>
        <pc:spChg chg="mod">
          <ac:chgData name="Yiwen Song" userId="facb385f-c87f-4c4b-9d46-8fc59bab364f" providerId="ADAL" clId="{604AAA28-F7AD-C444-812E-A9D6E845AE59}" dt="2023-12-06T20:11:35.726" v="177"/>
          <ac:spMkLst>
            <pc:docMk/>
            <pc:sldMk cId="1729623834" sldId="332"/>
            <ac:spMk id="13" creationId="{DAEEF426-3DF7-694F-AF42-E7DA205697F5}"/>
          </ac:spMkLst>
        </pc:spChg>
        <pc:spChg chg="mod">
          <ac:chgData name="Yiwen Song" userId="facb385f-c87f-4c4b-9d46-8fc59bab364f" providerId="ADAL" clId="{604AAA28-F7AD-C444-812E-A9D6E845AE59}" dt="2023-12-06T20:11:35.726" v="177"/>
          <ac:spMkLst>
            <pc:docMk/>
            <pc:sldMk cId="1729623834" sldId="332"/>
            <ac:spMk id="14" creationId="{2AEF64E0-A566-174B-8412-A0ED36433D45}"/>
          </ac:spMkLst>
        </pc:spChg>
        <pc:spChg chg="mod">
          <ac:chgData name="Yiwen Song" userId="facb385f-c87f-4c4b-9d46-8fc59bab364f" providerId="ADAL" clId="{604AAA28-F7AD-C444-812E-A9D6E845AE59}" dt="2023-12-06T20:11:35.726" v="177"/>
          <ac:spMkLst>
            <pc:docMk/>
            <pc:sldMk cId="1729623834" sldId="332"/>
            <ac:spMk id="15" creationId="{B0088126-1D0C-D547-B3C5-087D228FD68B}"/>
          </ac:spMkLst>
        </pc:spChg>
        <pc:spChg chg="add del mod">
          <ac:chgData name="Yiwen Song" userId="facb385f-c87f-4c4b-9d46-8fc59bab364f" providerId="ADAL" clId="{604AAA28-F7AD-C444-812E-A9D6E845AE59}" dt="2023-12-08T01:07:38.865" v="576" actId="478"/>
          <ac:spMkLst>
            <pc:docMk/>
            <pc:sldMk cId="1729623834" sldId="332"/>
            <ac:spMk id="17" creationId="{97ABC26A-65A9-2749-9115-408397F3CB97}"/>
          </ac:spMkLst>
        </pc:spChg>
        <pc:grpChg chg="add mod">
          <ac:chgData name="Yiwen Song" userId="facb385f-c87f-4c4b-9d46-8fc59bab364f" providerId="ADAL" clId="{604AAA28-F7AD-C444-812E-A9D6E845AE59}" dt="2023-12-08T01:04:40.507" v="570" actId="14100"/>
          <ac:grpSpMkLst>
            <pc:docMk/>
            <pc:sldMk cId="1729623834" sldId="332"/>
            <ac:grpSpMk id="12" creationId="{BDD116D1-E90D-274E-BFF5-97D411FA1BDE}"/>
          </ac:grpSpMkLst>
        </pc:grpChg>
        <pc:picChg chg="mod">
          <ac:chgData name="Yiwen Song" userId="facb385f-c87f-4c4b-9d46-8fc59bab364f" providerId="ADAL" clId="{604AAA28-F7AD-C444-812E-A9D6E845AE59}" dt="2023-12-06T19:51:25.065" v="81" actId="1076"/>
          <ac:picMkLst>
            <pc:docMk/>
            <pc:sldMk cId="1729623834" sldId="332"/>
            <ac:picMk id="6" creationId="{67F480B5-7210-D4B8-95DD-65FFA77B74C5}"/>
          </ac:picMkLst>
        </pc:picChg>
        <pc:picChg chg="add mod">
          <ac:chgData name="Yiwen Song" userId="facb385f-c87f-4c4b-9d46-8fc59bab364f" providerId="ADAL" clId="{604AAA28-F7AD-C444-812E-A9D6E845AE59}" dt="2023-12-08T01:04:40.507" v="570" actId="14100"/>
          <ac:picMkLst>
            <pc:docMk/>
            <pc:sldMk cId="1729623834" sldId="332"/>
            <ac:picMk id="16" creationId="{54A19125-1057-3D47-A528-E77E753543B2}"/>
          </ac:picMkLst>
        </pc:picChg>
        <pc:picChg chg="add del mod">
          <ac:chgData name="Yiwen Song" userId="facb385f-c87f-4c4b-9d46-8fc59bab364f" providerId="ADAL" clId="{604AAA28-F7AD-C444-812E-A9D6E845AE59}" dt="2023-12-06T20:13:08.136" v="182" actId="478"/>
          <ac:picMkLst>
            <pc:docMk/>
            <pc:sldMk cId="1729623834" sldId="332"/>
            <ac:picMk id="18" creationId="{1068B258-89C4-5741-985A-98EDB7523F66}"/>
          </ac:picMkLst>
        </pc:picChg>
        <pc:picChg chg="mod">
          <ac:chgData name="Yiwen Song" userId="facb385f-c87f-4c4b-9d46-8fc59bab364f" providerId="ADAL" clId="{604AAA28-F7AD-C444-812E-A9D6E845AE59}" dt="2023-12-08T01:04:40.507" v="570" actId="14100"/>
          <ac:picMkLst>
            <pc:docMk/>
            <pc:sldMk cId="1729623834" sldId="332"/>
            <ac:picMk id="19" creationId="{6C6E08C2-92D0-074E-DEA0-1B8AC482D0B1}"/>
          </ac:picMkLst>
        </pc:picChg>
        <pc:picChg chg="mod">
          <ac:chgData name="Yiwen Song" userId="facb385f-c87f-4c4b-9d46-8fc59bab364f" providerId="ADAL" clId="{604AAA28-F7AD-C444-812E-A9D6E845AE59}" dt="2023-12-08T01:04:40.507" v="570" actId="14100"/>
          <ac:picMkLst>
            <pc:docMk/>
            <pc:sldMk cId="1729623834" sldId="332"/>
            <ac:picMk id="21" creationId="{34998D24-141C-4E4D-5B31-CFCE47249B26}"/>
          </ac:picMkLst>
        </pc:picChg>
      </pc:sldChg>
      <pc:sldChg chg="modSp">
        <pc:chgData name="Yiwen Song" userId="facb385f-c87f-4c4b-9d46-8fc59bab364f" providerId="ADAL" clId="{604AAA28-F7AD-C444-812E-A9D6E845AE59}" dt="2023-12-06T19:55:11.860" v="82" actId="1076"/>
        <pc:sldMkLst>
          <pc:docMk/>
          <pc:sldMk cId="2978949416" sldId="333"/>
        </pc:sldMkLst>
        <pc:picChg chg="mod">
          <ac:chgData name="Yiwen Song" userId="facb385f-c87f-4c4b-9d46-8fc59bab364f" providerId="ADAL" clId="{604AAA28-F7AD-C444-812E-A9D6E845AE59}" dt="2023-12-06T19:55:11.860" v="82" actId="1076"/>
          <ac:picMkLst>
            <pc:docMk/>
            <pc:sldMk cId="2978949416" sldId="333"/>
            <ac:picMk id="2050" creationId="{494B7406-D89C-8C4A-9153-F9ABE278D5D6}"/>
          </ac:picMkLst>
        </pc:picChg>
      </pc:sldChg>
      <pc:sldChg chg="addSp delSp modSp mod ord modShow modNotesTx">
        <pc:chgData name="Yiwen Song" userId="facb385f-c87f-4c4b-9d46-8fc59bab364f" providerId="ADAL" clId="{604AAA28-F7AD-C444-812E-A9D6E845AE59}" dt="2023-12-08T23:27:23.471" v="930" actId="729"/>
        <pc:sldMkLst>
          <pc:docMk/>
          <pc:sldMk cId="350607174" sldId="335"/>
        </pc:sldMkLst>
        <pc:spChg chg="add del mod">
          <ac:chgData name="Yiwen Song" userId="facb385f-c87f-4c4b-9d46-8fc59bab364f" providerId="ADAL" clId="{604AAA28-F7AD-C444-812E-A9D6E845AE59}" dt="2023-12-08T00:15:44.955" v="331"/>
          <ac:spMkLst>
            <pc:docMk/>
            <pc:sldMk cId="350607174" sldId="335"/>
            <ac:spMk id="2" creationId="{4A5D60BE-EB76-FD4E-AE7C-8A3E4E382E87}"/>
          </ac:spMkLst>
        </pc:spChg>
        <pc:spChg chg="mod">
          <ac:chgData name="Yiwen Song" userId="facb385f-c87f-4c4b-9d46-8fc59bab364f" providerId="ADAL" clId="{604AAA28-F7AD-C444-812E-A9D6E845AE59}" dt="2023-12-08T00:14:45.841" v="327" actId="1076"/>
          <ac:spMkLst>
            <pc:docMk/>
            <pc:sldMk cId="350607174" sldId="335"/>
            <ac:spMk id="6" creationId="{3225795B-0FA5-9FC7-8AC1-2FB7DD69BFA3}"/>
          </ac:spMkLst>
        </pc:spChg>
        <pc:spChg chg="del mod">
          <ac:chgData name="Yiwen Song" userId="facb385f-c87f-4c4b-9d46-8fc59bab364f" providerId="ADAL" clId="{604AAA28-F7AD-C444-812E-A9D6E845AE59}" dt="2023-12-08T00:14:27.065" v="322" actId="478"/>
          <ac:spMkLst>
            <pc:docMk/>
            <pc:sldMk cId="350607174" sldId="335"/>
            <ac:spMk id="7" creationId="{18EE20B2-3E6B-3712-1C2A-A2B8A6368D9F}"/>
          </ac:spMkLst>
        </pc:spChg>
        <pc:spChg chg="add del mod">
          <ac:chgData name="Yiwen Song" userId="facb385f-c87f-4c4b-9d46-8fc59bab364f" providerId="ADAL" clId="{604AAA28-F7AD-C444-812E-A9D6E845AE59}" dt="2023-12-08T00:14:27.065" v="322" actId="478"/>
          <ac:spMkLst>
            <pc:docMk/>
            <pc:sldMk cId="350607174" sldId="335"/>
            <ac:spMk id="8" creationId="{8A048014-1C8C-5244-9B02-302F7A62534F}"/>
          </ac:spMkLst>
        </pc:spChg>
        <pc:spChg chg="add del mod">
          <ac:chgData name="Yiwen Song" userId="facb385f-c87f-4c4b-9d46-8fc59bab364f" providerId="ADAL" clId="{604AAA28-F7AD-C444-812E-A9D6E845AE59}" dt="2023-12-08T00:14:27.065" v="322" actId="478"/>
          <ac:spMkLst>
            <pc:docMk/>
            <pc:sldMk cId="350607174" sldId="335"/>
            <ac:spMk id="9" creationId="{96BB56DB-25B9-7445-BD3E-EDA26534D2EF}"/>
          </ac:spMkLst>
        </pc:spChg>
        <pc:spChg chg="add del mod">
          <ac:chgData name="Yiwen Song" userId="facb385f-c87f-4c4b-9d46-8fc59bab364f" providerId="ADAL" clId="{604AAA28-F7AD-C444-812E-A9D6E845AE59}" dt="2023-12-08T00:14:27.065" v="322" actId="478"/>
          <ac:spMkLst>
            <pc:docMk/>
            <pc:sldMk cId="350607174" sldId="335"/>
            <ac:spMk id="10" creationId="{CD447845-757C-E74C-B431-94D5EEABA691}"/>
          </ac:spMkLst>
        </pc:spChg>
        <pc:spChg chg="mod">
          <ac:chgData name="Yiwen Song" userId="facb385f-c87f-4c4b-9d46-8fc59bab364f" providerId="ADAL" clId="{604AAA28-F7AD-C444-812E-A9D6E845AE59}" dt="2023-12-08T00:15:57.177" v="333" actId="14100"/>
          <ac:spMkLst>
            <pc:docMk/>
            <pc:sldMk cId="350607174" sldId="335"/>
            <ac:spMk id="13" creationId="{3CC05E35-A8D4-AEC4-E0CA-80E273CED7E0}"/>
          </ac:spMkLst>
        </pc:spChg>
        <pc:spChg chg="mod">
          <ac:chgData name="Yiwen Song" userId="facb385f-c87f-4c4b-9d46-8fc59bab364f" providerId="ADAL" clId="{604AAA28-F7AD-C444-812E-A9D6E845AE59}" dt="2023-12-08T00:15:57.177" v="333" actId="14100"/>
          <ac:spMkLst>
            <pc:docMk/>
            <pc:sldMk cId="350607174" sldId="335"/>
            <ac:spMk id="14" creationId="{9074A64F-EE19-38F9-0996-781677054DED}"/>
          </ac:spMkLst>
        </pc:spChg>
        <pc:spChg chg="mod">
          <ac:chgData name="Yiwen Song" userId="facb385f-c87f-4c4b-9d46-8fc59bab364f" providerId="ADAL" clId="{604AAA28-F7AD-C444-812E-A9D6E845AE59}" dt="2023-12-08T00:15:57.177" v="333" actId="14100"/>
          <ac:spMkLst>
            <pc:docMk/>
            <pc:sldMk cId="350607174" sldId="335"/>
            <ac:spMk id="16" creationId="{8A9E72FD-7C54-09A1-1DB6-8EE29734E14D}"/>
          </ac:spMkLst>
        </pc:spChg>
        <pc:spChg chg="mod">
          <ac:chgData name="Yiwen Song" userId="facb385f-c87f-4c4b-9d46-8fc59bab364f" providerId="ADAL" clId="{604AAA28-F7AD-C444-812E-A9D6E845AE59}" dt="2023-12-08T00:15:57.177" v="333" actId="14100"/>
          <ac:spMkLst>
            <pc:docMk/>
            <pc:sldMk cId="350607174" sldId="335"/>
            <ac:spMk id="17" creationId="{1B1C08AC-3DB8-94B4-0317-9D7E2FEFEAEF}"/>
          </ac:spMkLst>
        </pc:spChg>
        <pc:spChg chg="mod">
          <ac:chgData name="Yiwen Song" userId="facb385f-c87f-4c4b-9d46-8fc59bab364f" providerId="ADAL" clId="{604AAA28-F7AD-C444-812E-A9D6E845AE59}" dt="2023-12-08T00:14:12.780" v="318"/>
          <ac:spMkLst>
            <pc:docMk/>
            <pc:sldMk cId="350607174" sldId="335"/>
            <ac:spMk id="19" creationId="{2D5ACBD9-9417-2D49-BBCF-4B729EFCD58E}"/>
          </ac:spMkLst>
        </pc:spChg>
        <pc:spChg chg="mod">
          <ac:chgData name="Yiwen Song" userId="facb385f-c87f-4c4b-9d46-8fc59bab364f" providerId="ADAL" clId="{604AAA28-F7AD-C444-812E-A9D6E845AE59}" dt="2023-12-08T00:14:12.780" v="318"/>
          <ac:spMkLst>
            <pc:docMk/>
            <pc:sldMk cId="350607174" sldId="335"/>
            <ac:spMk id="20" creationId="{8744508C-9889-4D4C-9481-FE770F646835}"/>
          </ac:spMkLst>
        </pc:spChg>
        <pc:spChg chg="mod">
          <ac:chgData name="Yiwen Song" userId="facb385f-c87f-4c4b-9d46-8fc59bab364f" providerId="ADAL" clId="{604AAA28-F7AD-C444-812E-A9D6E845AE59}" dt="2023-12-08T00:14:12.780" v="318"/>
          <ac:spMkLst>
            <pc:docMk/>
            <pc:sldMk cId="350607174" sldId="335"/>
            <ac:spMk id="21" creationId="{F2012374-8F9C-B740-B8C6-F9A0EFF111B3}"/>
          </ac:spMkLst>
        </pc:spChg>
        <pc:grpChg chg="add mod">
          <ac:chgData name="Yiwen Song" userId="facb385f-c87f-4c4b-9d46-8fc59bab364f" providerId="ADAL" clId="{604AAA28-F7AD-C444-812E-A9D6E845AE59}" dt="2023-12-08T00:15:35.196" v="328" actId="1076"/>
          <ac:grpSpMkLst>
            <pc:docMk/>
            <pc:sldMk cId="350607174" sldId="335"/>
            <ac:grpSpMk id="15" creationId="{27330FC5-4C7B-CA4D-B7EC-853F309F876C}"/>
          </ac:grpSpMkLst>
        </pc:grpChg>
        <pc:picChg chg="del mod modCrop">
          <ac:chgData name="Yiwen Song" userId="facb385f-c87f-4c4b-9d46-8fc59bab364f" providerId="ADAL" clId="{604AAA28-F7AD-C444-812E-A9D6E845AE59}" dt="2023-12-08T00:14:27.065" v="322" actId="478"/>
          <ac:picMkLst>
            <pc:docMk/>
            <pc:sldMk cId="350607174" sldId="335"/>
            <ac:picMk id="5" creationId="{D332AD01-5E33-8B36-12B6-324CFA951BAD}"/>
          </ac:picMkLst>
        </pc:picChg>
        <pc:picChg chg="mod">
          <ac:chgData name="Yiwen Song" userId="facb385f-c87f-4c4b-9d46-8fc59bab364f" providerId="ADAL" clId="{604AAA28-F7AD-C444-812E-A9D6E845AE59}" dt="2023-12-08T00:15:57.177" v="333" actId="14100"/>
          <ac:picMkLst>
            <pc:docMk/>
            <pc:sldMk cId="350607174" sldId="335"/>
            <ac:picMk id="11" creationId="{51A9490A-EC18-459F-63E2-AC62793F2D91}"/>
          </ac:picMkLst>
        </pc:picChg>
        <pc:picChg chg="add mod">
          <ac:chgData name="Yiwen Song" userId="facb385f-c87f-4c4b-9d46-8fc59bab364f" providerId="ADAL" clId="{604AAA28-F7AD-C444-812E-A9D6E845AE59}" dt="2023-12-08T00:15:57.177" v="333" actId="14100"/>
          <ac:picMkLst>
            <pc:docMk/>
            <pc:sldMk cId="350607174" sldId="335"/>
            <ac:picMk id="12" creationId="{CE3AE05D-D0F7-CD4C-88D8-14FCAFC802B9}"/>
          </ac:picMkLst>
        </pc:picChg>
        <pc:picChg chg="add mod">
          <ac:chgData name="Yiwen Song" userId="facb385f-c87f-4c4b-9d46-8fc59bab364f" providerId="ADAL" clId="{604AAA28-F7AD-C444-812E-A9D6E845AE59}" dt="2023-12-08T00:14:31.943" v="324" actId="1076"/>
          <ac:picMkLst>
            <pc:docMk/>
            <pc:sldMk cId="350607174" sldId="335"/>
            <ac:picMk id="18" creationId="{129D4194-4502-B946-BADF-E0EBAC69C07F}"/>
          </ac:picMkLst>
        </pc:picChg>
      </pc:sldChg>
      <pc:sldChg chg="addSp delSp modSp new mod modNotesTx">
        <pc:chgData name="Yiwen Song" userId="facb385f-c87f-4c4b-9d46-8fc59bab364f" providerId="ADAL" clId="{604AAA28-F7AD-C444-812E-A9D6E845AE59}" dt="2023-12-08T01:15:57.162" v="625" actId="1076"/>
        <pc:sldMkLst>
          <pc:docMk/>
          <pc:sldMk cId="2106829005" sldId="336"/>
        </pc:sldMkLst>
        <pc:spChg chg="del">
          <ac:chgData name="Yiwen Song" userId="facb385f-c87f-4c4b-9d46-8fc59bab364f" providerId="ADAL" clId="{604AAA28-F7AD-C444-812E-A9D6E845AE59}" dt="2023-12-06T20:18:58.299" v="187" actId="478"/>
          <ac:spMkLst>
            <pc:docMk/>
            <pc:sldMk cId="2106829005" sldId="336"/>
            <ac:spMk id="2" creationId="{479884A9-5B69-7E4E-90A1-2AFBA2D56898}"/>
          </ac:spMkLst>
        </pc:spChg>
        <pc:spChg chg="del">
          <ac:chgData name="Yiwen Song" userId="facb385f-c87f-4c4b-9d46-8fc59bab364f" providerId="ADAL" clId="{604AAA28-F7AD-C444-812E-A9D6E845AE59}" dt="2023-12-06T20:18:58.299" v="187" actId="478"/>
          <ac:spMkLst>
            <pc:docMk/>
            <pc:sldMk cId="2106829005" sldId="336"/>
            <ac:spMk id="3" creationId="{9A6D51BD-7BFC-F240-ABF9-90F02037DB78}"/>
          </ac:spMkLst>
        </pc:spChg>
        <pc:spChg chg="del">
          <ac:chgData name="Yiwen Song" userId="facb385f-c87f-4c4b-9d46-8fc59bab364f" providerId="ADAL" clId="{604AAA28-F7AD-C444-812E-A9D6E845AE59}" dt="2023-12-06T20:18:58.299" v="187" actId="478"/>
          <ac:spMkLst>
            <pc:docMk/>
            <pc:sldMk cId="2106829005" sldId="336"/>
            <ac:spMk id="4" creationId="{945CFDD0-D1B9-5E41-B68A-71CFA2F1EF9B}"/>
          </ac:spMkLst>
        </pc:spChg>
        <pc:spChg chg="add mod">
          <ac:chgData name="Yiwen Song" userId="facb385f-c87f-4c4b-9d46-8fc59bab364f" providerId="ADAL" clId="{604AAA28-F7AD-C444-812E-A9D6E845AE59}" dt="2023-12-08T01:15:48.530" v="624" actId="1076"/>
          <ac:spMkLst>
            <pc:docMk/>
            <pc:sldMk cId="2106829005" sldId="336"/>
            <ac:spMk id="6" creationId="{91BD71F9-D9E6-D240-AB34-39F192348E5E}"/>
          </ac:spMkLst>
        </pc:spChg>
        <pc:spChg chg="add mod">
          <ac:chgData name="Yiwen Song" userId="facb385f-c87f-4c4b-9d46-8fc59bab364f" providerId="ADAL" clId="{604AAA28-F7AD-C444-812E-A9D6E845AE59}" dt="2023-12-08T01:15:57.162" v="625" actId="1076"/>
          <ac:spMkLst>
            <pc:docMk/>
            <pc:sldMk cId="2106829005" sldId="336"/>
            <ac:spMk id="8" creationId="{76ECE551-42A9-9746-9855-5F32A0A00559}"/>
          </ac:spMkLst>
        </pc:spChg>
        <pc:picChg chg="add mod">
          <ac:chgData name="Yiwen Song" userId="facb385f-c87f-4c4b-9d46-8fc59bab364f" providerId="ADAL" clId="{604AAA28-F7AD-C444-812E-A9D6E845AE59}" dt="2023-12-08T01:12:39.089" v="595" actId="1037"/>
          <ac:picMkLst>
            <pc:docMk/>
            <pc:sldMk cId="2106829005" sldId="336"/>
            <ac:picMk id="5" creationId="{7E85F242-D0F0-F342-B3D5-D5260D67243E}"/>
          </ac:picMkLst>
        </pc:picChg>
        <pc:picChg chg="mod">
          <ac:chgData name="Yiwen Song" userId="facb385f-c87f-4c4b-9d46-8fc59bab364f" providerId="ADAL" clId="{604AAA28-F7AD-C444-812E-A9D6E845AE59}" dt="2023-12-08T01:12:39.089" v="595" actId="1037"/>
          <ac:picMkLst>
            <pc:docMk/>
            <pc:sldMk cId="2106829005" sldId="336"/>
            <ac:picMk id="7" creationId="{A335A47E-D40E-3976-A3D7-5BC70EB3C295}"/>
          </ac:picMkLst>
        </pc:picChg>
      </pc:sldChg>
      <pc:sldChg chg="new del">
        <pc:chgData name="Yiwen Song" userId="facb385f-c87f-4c4b-9d46-8fc59bab364f" providerId="ADAL" clId="{604AAA28-F7AD-C444-812E-A9D6E845AE59}" dt="2023-12-08T00:39:19.604" v="490" actId="2696"/>
        <pc:sldMkLst>
          <pc:docMk/>
          <pc:sldMk cId="767037780" sldId="346"/>
        </pc:sldMkLst>
      </pc:sldChg>
      <pc:sldChg chg="modSp add mod modNotesTx">
        <pc:chgData name="Yiwen Song" userId="facb385f-c87f-4c4b-9d46-8fc59bab364f" providerId="ADAL" clId="{604AAA28-F7AD-C444-812E-A9D6E845AE59}" dt="2023-12-08T22:14:51.346" v="894" actId="20577"/>
        <pc:sldMkLst>
          <pc:docMk/>
          <pc:sldMk cId="1854151037" sldId="347"/>
        </pc:sldMkLst>
        <pc:spChg chg="mod">
          <ac:chgData name="Yiwen Song" userId="facb385f-c87f-4c4b-9d46-8fc59bab364f" providerId="ADAL" clId="{604AAA28-F7AD-C444-812E-A9D6E845AE59}" dt="2023-12-08T00:39:42.785" v="493" actId="20577"/>
          <ac:spMkLst>
            <pc:docMk/>
            <pc:sldMk cId="1854151037" sldId="347"/>
            <ac:spMk id="15" creationId="{7E1A7B3A-D4F3-3DD8-7B97-7A0FFB366907}"/>
          </ac:spMkLst>
        </pc:spChg>
        <pc:spChg chg="mod">
          <ac:chgData name="Yiwen Song" userId="facb385f-c87f-4c4b-9d46-8fc59bab364f" providerId="ADAL" clId="{604AAA28-F7AD-C444-812E-A9D6E845AE59}" dt="2023-12-08T00:39:51.971" v="494" actId="1076"/>
          <ac:spMkLst>
            <pc:docMk/>
            <pc:sldMk cId="1854151037" sldId="347"/>
            <ac:spMk id="19" creationId="{02F42A2E-126E-9644-A4CF-05ACDA8C3E10}"/>
          </ac:spMkLst>
        </pc:spChg>
      </pc:sldChg>
      <pc:sldChg chg="modNotesTx">
        <pc:chgData name="Yiwen Song" userId="facb385f-c87f-4c4b-9d46-8fc59bab364f" providerId="ADAL" clId="{604AAA28-F7AD-C444-812E-A9D6E845AE59}" dt="2023-12-08T05:47:00.031" v="822" actId="20577"/>
        <pc:sldMkLst>
          <pc:docMk/>
          <pc:sldMk cId="259811885" sldId="349"/>
        </pc:sldMkLst>
      </pc:sldChg>
    </pc:docChg>
  </pc:docChgLst>
  <pc:docChgLst>
    <pc:chgData name="Jiayi Deng" userId="S::jiayideng@uchicago.edu::1a00fe64-c1f9-48ee-8835-dcb79118203c" providerId="AD" clId="Web-{BF06A060-7D29-4C2E-824A-1D92F5DE8611}"/>
    <pc:docChg chg="modSld modMainMaster">
      <pc:chgData name="Jiayi Deng" userId="S::jiayideng@uchicago.edu::1a00fe64-c1f9-48ee-8835-dcb79118203c" providerId="AD" clId="Web-{BF06A060-7D29-4C2E-824A-1D92F5DE8611}" dt="2023-12-08T09:30:22.914" v="202"/>
      <pc:docMkLst>
        <pc:docMk/>
      </pc:docMkLst>
      <pc:sldChg chg="delCm modCm">
        <pc:chgData name="Jiayi Deng" userId="S::jiayideng@uchicago.edu::1a00fe64-c1f9-48ee-8835-dcb79118203c" providerId="AD" clId="Web-{BF06A060-7D29-4C2E-824A-1D92F5DE8611}" dt="2023-12-08T09:28:17.520" v="160"/>
        <pc:sldMkLst>
          <pc:docMk/>
          <pc:sldMk cId="0" sldId="256"/>
        </pc:sldMkLst>
        <pc:extLst>
          <p:ext xmlns:p="http://schemas.openxmlformats.org/presentationml/2006/main" uri="{D6D511B9-2390-475A-947B-AFAB55BFBCF1}">
            <pc226:cmChg xmlns:pc226="http://schemas.microsoft.com/office/powerpoint/2022/06/main/command" chg="del mod">
              <pc226:chgData name="Jiayi Deng" userId="S::jiayideng@uchicago.edu::1a00fe64-c1f9-48ee-8835-dcb79118203c" providerId="AD" clId="Web-{BF06A060-7D29-4C2E-824A-1D92F5DE8611}" dt="2023-12-08T09:28:17.520" v="160"/>
              <pc2:cmMkLst xmlns:pc2="http://schemas.microsoft.com/office/powerpoint/2019/9/main/command">
                <pc:docMk/>
                <pc:sldMk cId="0" sldId="256"/>
                <pc2:cmMk id="{FDB25AF1-AB1D-4946-A891-617B050B5BC5}"/>
              </pc2:cmMkLst>
            </pc226:cmChg>
          </p:ext>
        </pc:extLst>
      </pc:sldChg>
      <pc:sldChg chg="addSp modSp">
        <pc:chgData name="Jiayi Deng" userId="S::jiayideng@uchicago.edu::1a00fe64-c1f9-48ee-8835-dcb79118203c" providerId="AD" clId="Web-{BF06A060-7D29-4C2E-824A-1D92F5DE8611}" dt="2023-12-08T09:29:29.631" v="180" actId="20577"/>
        <pc:sldMkLst>
          <pc:docMk/>
          <pc:sldMk cId="0" sldId="258"/>
        </pc:sldMkLst>
        <pc:spChg chg="add mod">
          <ac:chgData name="Jiayi Deng" userId="S::jiayideng@uchicago.edu::1a00fe64-c1f9-48ee-8835-dcb79118203c" providerId="AD" clId="Web-{BF06A060-7D29-4C2E-824A-1D92F5DE8611}" dt="2023-12-08T09:29:29.631" v="180" actId="20577"/>
          <ac:spMkLst>
            <pc:docMk/>
            <pc:sldMk cId="0" sldId="258"/>
            <ac:spMk id="4" creationId="{BE6FBF4C-28A7-D665-CECA-2B2D472E0331}"/>
          </ac:spMkLst>
        </pc:spChg>
      </pc:sldChg>
      <pc:sldChg chg="addSp modSp">
        <pc:chgData name="Jiayi Deng" userId="S::jiayideng@uchicago.edu::1a00fe64-c1f9-48ee-8835-dcb79118203c" providerId="AD" clId="Web-{BF06A060-7D29-4C2E-824A-1D92F5DE8611}" dt="2023-12-08T09:29:43.710" v="185" actId="20577"/>
        <pc:sldMkLst>
          <pc:docMk/>
          <pc:sldMk cId="0" sldId="260"/>
        </pc:sldMkLst>
        <pc:spChg chg="add mod">
          <ac:chgData name="Jiayi Deng" userId="S::jiayideng@uchicago.edu::1a00fe64-c1f9-48ee-8835-dcb79118203c" providerId="AD" clId="Web-{BF06A060-7D29-4C2E-824A-1D92F5DE8611}" dt="2023-12-08T09:29:43.710" v="185" actId="20577"/>
          <ac:spMkLst>
            <pc:docMk/>
            <pc:sldMk cId="0" sldId="260"/>
            <ac:spMk id="4" creationId="{DAAA3CA6-1662-C71D-5618-0365C210787B}"/>
          </ac:spMkLst>
        </pc:spChg>
        <pc:spChg chg="mod">
          <ac:chgData name="Jiayi Deng" userId="S::jiayideng@uchicago.edu::1a00fe64-c1f9-48ee-8835-dcb79118203c" providerId="AD" clId="Web-{BF06A060-7D29-4C2E-824A-1D92F5DE8611}" dt="2023-12-08T08:54:08.542" v="43"/>
          <ac:spMkLst>
            <pc:docMk/>
            <pc:sldMk cId="0" sldId="260"/>
            <ac:spMk id="226" creationId="{00000000-0000-0000-0000-000000000000}"/>
          </ac:spMkLst>
        </pc:spChg>
      </pc:sldChg>
      <pc:sldChg chg="addSp modSp">
        <pc:chgData name="Jiayi Deng" userId="S::jiayideng@uchicago.edu::1a00fe64-c1f9-48ee-8835-dcb79118203c" providerId="AD" clId="Web-{BF06A060-7D29-4C2E-824A-1D92F5DE8611}" dt="2023-12-08T09:29:35.554" v="182" actId="20577"/>
        <pc:sldMkLst>
          <pc:docMk/>
          <pc:sldMk cId="0" sldId="261"/>
        </pc:sldMkLst>
        <pc:spChg chg="add mod">
          <ac:chgData name="Jiayi Deng" userId="S::jiayideng@uchicago.edu::1a00fe64-c1f9-48ee-8835-dcb79118203c" providerId="AD" clId="Web-{BF06A060-7D29-4C2E-824A-1D92F5DE8611}" dt="2023-12-08T09:29:35.554" v="182" actId="20577"/>
          <ac:spMkLst>
            <pc:docMk/>
            <pc:sldMk cId="0" sldId="261"/>
            <ac:spMk id="4" creationId="{B3C06921-DDC8-4F46-D0FA-1A399F37C74A}"/>
          </ac:spMkLst>
        </pc:spChg>
      </pc:sldChg>
      <pc:sldChg chg="addSp modSp">
        <pc:chgData name="Jiayi Deng" userId="S::jiayideng@uchicago.edu::1a00fe64-c1f9-48ee-8835-dcb79118203c" providerId="AD" clId="Web-{BF06A060-7D29-4C2E-824A-1D92F5DE8611}" dt="2023-12-08T09:30:06.382" v="196" actId="20577"/>
        <pc:sldMkLst>
          <pc:docMk/>
          <pc:sldMk cId="0" sldId="264"/>
        </pc:sldMkLst>
        <pc:spChg chg="add mod">
          <ac:chgData name="Jiayi Deng" userId="S::jiayideng@uchicago.edu::1a00fe64-c1f9-48ee-8835-dcb79118203c" providerId="AD" clId="Web-{BF06A060-7D29-4C2E-824A-1D92F5DE8611}" dt="2023-12-08T09:30:06.382" v="196" actId="20577"/>
          <ac:spMkLst>
            <pc:docMk/>
            <pc:sldMk cId="0" sldId="264"/>
            <ac:spMk id="4" creationId="{F8D5AD6D-A8F6-67C9-CCA1-A6D8E10382BF}"/>
          </ac:spMkLst>
        </pc:spChg>
      </pc:sldChg>
      <pc:sldChg chg="addSp modSp">
        <pc:chgData name="Jiayi Deng" userId="S::jiayideng@uchicago.edu::1a00fe64-c1f9-48ee-8835-dcb79118203c" providerId="AD" clId="Web-{BF06A060-7D29-4C2E-824A-1D92F5DE8611}" dt="2023-12-08T09:30:01.007" v="193" actId="20577"/>
        <pc:sldMkLst>
          <pc:docMk/>
          <pc:sldMk cId="0" sldId="266"/>
        </pc:sldMkLst>
        <pc:spChg chg="add mod">
          <ac:chgData name="Jiayi Deng" userId="S::jiayideng@uchicago.edu::1a00fe64-c1f9-48ee-8835-dcb79118203c" providerId="AD" clId="Web-{BF06A060-7D29-4C2E-824A-1D92F5DE8611}" dt="2023-12-08T09:30:01.007" v="193" actId="20577"/>
          <ac:spMkLst>
            <pc:docMk/>
            <pc:sldMk cId="0" sldId="266"/>
            <ac:spMk id="4" creationId="{679267FE-697C-B63A-21DB-66F301DC3C00}"/>
          </ac:spMkLst>
        </pc:spChg>
      </pc:sldChg>
      <pc:sldChg chg="modSp">
        <pc:chgData name="Jiayi Deng" userId="S::jiayideng@uchicago.edu::1a00fe64-c1f9-48ee-8835-dcb79118203c" providerId="AD" clId="Web-{BF06A060-7D29-4C2E-824A-1D92F5DE8611}" dt="2023-12-08T09:27:22.909" v="158" actId="20577"/>
        <pc:sldMkLst>
          <pc:docMk/>
          <pc:sldMk cId="2667141659" sldId="295"/>
        </pc:sldMkLst>
        <pc:spChg chg="mod">
          <ac:chgData name="Jiayi Deng" userId="S::jiayideng@uchicago.edu::1a00fe64-c1f9-48ee-8835-dcb79118203c" providerId="AD" clId="Web-{BF06A060-7D29-4C2E-824A-1D92F5DE8611}" dt="2023-12-08T09:27:22.909" v="158" actId="20577"/>
          <ac:spMkLst>
            <pc:docMk/>
            <pc:sldMk cId="2667141659" sldId="295"/>
            <ac:spMk id="1300" creationId="{00000000-0000-0000-0000-000000000000}"/>
          </ac:spMkLst>
        </pc:spChg>
      </pc:sldChg>
      <pc:sldChg chg="addSp">
        <pc:chgData name="Jiayi Deng" userId="S::jiayideng@uchicago.edu::1a00fe64-c1f9-48ee-8835-dcb79118203c" providerId="AD" clId="Web-{BF06A060-7D29-4C2E-824A-1D92F5DE8611}" dt="2023-12-08T09:30:22.914" v="202"/>
        <pc:sldMkLst>
          <pc:docMk/>
          <pc:sldMk cId="3208453393" sldId="314"/>
        </pc:sldMkLst>
        <pc:spChg chg="add">
          <ac:chgData name="Jiayi Deng" userId="S::jiayideng@uchicago.edu::1a00fe64-c1f9-48ee-8835-dcb79118203c" providerId="AD" clId="Web-{BF06A060-7D29-4C2E-824A-1D92F5DE8611}" dt="2023-12-08T09:30:22.914" v="202"/>
          <ac:spMkLst>
            <pc:docMk/>
            <pc:sldMk cId="3208453393" sldId="314"/>
            <ac:spMk id="8" creationId="{A642BE6C-34A5-0794-175A-E2BC8391259E}"/>
          </ac:spMkLst>
        </pc:spChg>
      </pc:sldChg>
      <pc:sldChg chg="addSp modSp">
        <pc:chgData name="Jiayi Deng" userId="S::jiayideng@uchicago.edu::1a00fe64-c1f9-48ee-8835-dcb79118203c" providerId="AD" clId="Web-{BF06A060-7D29-4C2E-824A-1D92F5DE8611}" dt="2023-12-08T09:29:55.710" v="191" actId="20577"/>
        <pc:sldMkLst>
          <pc:docMk/>
          <pc:sldMk cId="1509561868" sldId="318"/>
        </pc:sldMkLst>
        <pc:spChg chg="add mod">
          <ac:chgData name="Jiayi Deng" userId="S::jiayideng@uchicago.edu::1a00fe64-c1f9-48ee-8835-dcb79118203c" providerId="AD" clId="Web-{BF06A060-7D29-4C2E-824A-1D92F5DE8611}" dt="2023-12-08T09:29:55.710" v="191" actId="20577"/>
          <ac:spMkLst>
            <pc:docMk/>
            <pc:sldMk cId="1509561868" sldId="318"/>
            <ac:spMk id="3" creationId="{04661DBF-CF7A-38F1-9FF1-05A07C9BE46A}"/>
          </ac:spMkLst>
        </pc:spChg>
      </pc:sldChg>
      <pc:sldChg chg="addSp modSp">
        <pc:chgData name="Jiayi Deng" userId="S::jiayideng@uchicago.edu::1a00fe64-c1f9-48ee-8835-dcb79118203c" providerId="AD" clId="Web-{BF06A060-7D29-4C2E-824A-1D92F5DE8611}" dt="2023-12-08T09:29:24.459" v="177" actId="1076"/>
        <pc:sldMkLst>
          <pc:docMk/>
          <pc:sldMk cId="0" sldId="320"/>
        </pc:sldMkLst>
        <pc:spChg chg="add mod">
          <ac:chgData name="Jiayi Deng" userId="S::jiayideng@uchicago.edu::1a00fe64-c1f9-48ee-8835-dcb79118203c" providerId="AD" clId="Web-{BF06A060-7D29-4C2E-824A-1D92F5DE8611}" dt="2023-12-08T09:29:24.459" v="177" actId="1076"/>
          <ac:spMkLst>
            <pc:docMk/>
            <pc:sldMk cId="0" sldId="320"/>
            <ac:spMk id="3" creationId="{96035197-5929-8A0A-1F71-C9B3C96608BE}"/>
          </ac:spMkLst>
        </pc:spChg>
      </pc:sldChg>
      <pc:sldChg chg="addSp modSp">
        <pc:chgData name="Jiayi Deng" userId="S::jiayideng@uchicago.edu::1a00fe64-c1f9-48ee-8835-dcb79118203c" providerId="AD" clId="Web-{BF06A060-7D29-4C2E-824A-1D92F5DE8611}" dt="2023-12-08T09:30:18.148" v="201" actId="20577"/>
        <pc:sldMkLst>
          <pc:docMk/>
          <pc:sldMk cId="4204675178" sldId="322"/>
        </pc:sldMkLst>
        <pc:spChg chg="add mod">
          <ac:chgData name="Jiayi Deng" userId="S::jiayideng@uchicago.edu::1a00fe64-c1f9-48ee-8835-dcb79118203c" providerId="AD" clId="Web-{BF06A060-7D29-4C2E-824A-1D92F5DE8611}" dt="2023-12-08T09:30:18.148" v="201" actId="20577"/>
          <ac:spMkLst>
            <pc:docMk/>
            <pc:sldMk cId="4204675178" sldId="322"/>
            <ac:spMk id="6" creationId="{76E97DB0-6BE0-6FF3-94F1-9D2C4B35C2C3}"/>
          </ac:spMkLst>
        </pc:spChg>
      </pc:sldChg>
      <pc:sldChg chg="modSp">
        <pc:chgData name="Jiayi Deng" userId="S::jiayideng@uchicago.edu::1a00fe64-c1f9-48ee-8835-dcb79118203c" providerId="AD" clId="Web-{BF06A060-7D29-4C2E-824A-1D92F5DE8611}" dt="2023-12-08T08:42:23.227" v="0" actId="20577"/>
        <pc:sldMkLst>
          <pc:docMk/>
          <pc:sldMk cId="975507179" sldId="339"/>
        </pc:sldMkLst>
        <pc:spChg chg="mod">
          <ac:chgData name="Jiayi Deng" userId="S::jiayideng@uchicago.edu::1a00fe64-c1f9-48ee-8835-dcb79118203c" providerId="AD" clId="Web-{BF06A060-7D29-4C2E-824A-1D92F5DE8611}" dt="2023-12-08T08:42:23.227" v="0" actId="20577"/>
          <ac:spMkLst>
            <pc:docMk/>
            <pc:sldMk cId="975507179" sldId="339"/>
            <ac:spMk id="10" creationId="{24F14525-A068-FC90-ECD7-588479C6EA86}"/>
          </ac:spMkLst>
        </pc:spChg>
      </pc:sldChg>
      <pc:sldChg chg="addSp modSp">
        <pc:chgData name="Jiayi Deng" userId="S::jiayideng@uchicago.edu::1a00fe64-c1f9-48ee-8835-dcb79118203c" providerId="AD" clId="Web-{BF06A060-7D29-4C2E-824A-1D92F5DE8611}" dt="2023-12-08T09:30:11.070" v="199" actId="20577"/>
        <pc:sldMkLst>
          <pc:docMk/>
          <pc:sldMk cId="364185782" sldId="344"/>
        </pc:sldMkLst>
        <pc:spChg chg="add mod">
          <ac:chgData name="Jiayi Deng" userId="S::jiayideng@uchicago.edu::1a00fe64-c1f9-48ee-8835-dcb79118203c" providerId="AD" clId="Web-{BF06A060-7D29-4C2E-824A-1D92F5DE8611}" dt="2023-12-08T09:30:11.070" v="199" actId="20577"/>
          <ac:spMkLst>
            <pc:docMk/>
            <pc:sldMk cId="364185782" sldId="344"/>
            <ac:spMk id="4" creationId="{3A43D980-EDA7-4585-B2AA-3AC7F3A982D7}"/>
          </ac:spMkLst>
        </pc:spChg>
      </pc:sldChg>
      <pc:sldChg chg="addSp modSp">
        <pc:chgData name="Jiayi Deng" userId="S::jiayideng@uchicago.edu::1a00fe64-c1f9-48ee-8835-dcb79118203c" providerId="AD" clId="Web-{BF06A060-7D29-4C2E-824A-1D92F5DE8611}" dt="2023-12-08T09:29:50.538" v="188" actId="20577"/>
        <pc:sldMkLst>
          <pc:docMk/>
          <pc:sldMk cId="259811885" sldId="349"/>
        </pc:sldMkLst>
        <pc:spChg chg="add mod">
          <ac:chgData name="Jiayi Deng" userId="S::jiayideng@uchicago.edu::1a00fe64-c1f9-48ee-8835-dcb79118203c" providerId="AD" clId="Web-{BF06A060-7D29-4C2E-824A-1D92F5DE8611}" dt="2023-12-08T09:29:50.538" v="188" actId="20577"/>
          <ac:spMkLst>
            <pc:docMk/>
            <pc:sldMk cId="259811885" sldId="349"/>
            <ac:spMk id="4" creationId="{BB0AB5DC-DA29-ED40-4BB0-C33DE70AA757}"/>
          </ac:spMkLst>
        </pc:spChg>
        <pc:spChg chg="mod">
          <ac:chgData name="Jiayi Deng" userId="S::jiayideng@uchicago.edu::1a00fe64-c1f9-48ee-8835-dcb79118203c" providerId="AD" clId="Web-{BF06A060-7D29-4C2E-824A-1D92F5DE8611}" dt="2023-12-08T08:49:32.551" v="13" actId="1076"/>
          <ac:spMkLst>
            <pc:docMk/>
            <pc:sldMk cId="259811885" sldId="349"/>
            <ac:spMk id="11" creationId="{BE523913-76AA-BCD3-2188-A57A3049EF85}"/>
          </ac:spMkLst>
        </pc:spChg>
        <pc:spChg chg="mod">
          <ac:chgData name="Jiayi Deng" userId="S::jiayideng@uchicago.edu::1a00fe64-c1f9-48ee-8835-dcb79118203c" providerId="AD" clId="Web-{BF06A060-7D29-4C2E-824A-1D92F5DE8611}" dt="2023-12-08T08:52:43.243" v="30" actId="1076"/>
          <ac:spMkLst>
            <pc:docMk/>
            <pc:sldMk cId="259811885" sldId="349"/>
            <ac:spMk id="20" creationId="{344436C1-1E81-B4EA-26B1-24099C3349B7}"/>
          </ac:spMkLst>
        </pc:spChg>
        <pc:spChg chg="mod">
          <ac:chgData name="Jiayi Deng" userId="S::jiayideng@uchicago.edu::1a00fe64-c1f9-48ee-8835-dcb79118203c" providerId="AD" clId="Web-{BF06A060-7D29-4C2E-824A-1D92F5DE8611}" dt="2023-12-08T08:53:13.182" v="31" actId="1076"/>
          <ac:spMkLst>
            <pc:docMk/>
            <pc:sldMk cId="259811885" sldId="349"/>
            <ac:spMk id="22" creationId="{44FAA4F5-1A6F-2A9C-BA0A-F9493E25AE35}"/>
          </ac:spMkLst>
        </pc:spChg>
        <pc:spChg chg="mod">
          <ac:chgData name="Jiayi Deng" userId="S::jiayideng@uchicago.edu::1a00fe64-c1f9-48ee-8835-dcb79118203c" providerId="AD" clId="Web-{BF06A060-7D29-4C2E-824A-1D92F5DE8611}" dt="2023-12-08T08:51:49.789" v="29" actId="20577"/>
          <ac:spMkLst>
            <pc:docMk/>
            <pc:sldMk cId="259811885" sldId="349"/>
            <ac:spMk id="30" creationId="{B2EABD31-6B09-93C7-14CD-8580E0290EBE}"/>
          </ac:spMkLst>
        </pc:spChg>
        <pc:spChg chg="mod">
          <ac:chgData name="Jiayi Deng" userId="S::jiayideng@uchicago.edu::1a00fe64-c1f9-48ee-8835-dcb79118203c" providerId="AD" clId="Web-{BF06A060-7D29-4C2E-824A-1D92F5DE8611}" dt="2023-12-08T08:51:40.151" v="28" actId="14100"/>
          <ac:spMkLst>
            <pc:docMk/>
            <pc:sldMk cId="259811885" sldId="349"/>
            <ac:spMk id="31" creationId="{48A649E0-7313-7BD2-5860-F4DD52BFD256}"/>
          </ac:spMkLst>
        </pc:spChg>
        <pc:spChg chg="mod">
          <ac:chgData name="Jiayi Deng" userId="S::jiayideng@uchicago.edu::1a00fe64-c1f9-48ee-8835-dcb79118203c" providerId="AD" clId="Web-{BF06A060-7D29-4C2E-824A-1D92F5DE8611}" dt="2023-12-08T08:53:26.916" v="32" actId="1076"/>
          <ac:spMkLst>
            <pc:docMk/>
            <pc:sldMk cId="259811885" sldId="349"/>
            <ac:spMk id="32" creationId="{51907D7B-66C1-81BA-C6EC-26F01DCF4B95}"/>
          </ac:spMkLst>
        </pc:spChg>
        <pc:spChg chg="mod">
          <ac:chgData name="Jiayi Deng" userId="S::jiayideng@uchicago.edu::1a00fe64-c1f9-48ee-8835-dcb79118203c" providerId="AD" clId="Web-{BF06A060-7D29-4C2E-824A-1D92F5DE8611}" dt="2023-12-08T08:53:26.932" v="33" actId="1076"/>
          <ac:spMkLst>
            <pc:docMk/>
            <pc:sldMk cId="259811885" sldId="349"/>
            <ac:spMk id="33" creationId="{A1BDBA6E-EF93-706F-04CD-711CD6FA6DA0}"/>
          </ac:spMkLst>
        </pc:spChg>
        <pc:spChg chg="mod">
          <ac:chgData name="Jiayi Deng" userId="S::jiayideng@uchicago.edu::1a00fe64-c1f9-48ee-8835-dcb79118203c" providerId="AD" clId="Web-{BF06A060-7D29-4C2E-824A-1D92F5DE8611}" dt="2023-12-08T08:50:37.537" v="23" actId="1076"/>
          <ac:spMkLst>
            <pc:docMk/>
            <pc:sldMk cId="259811885" sldId="349"/>
            <ac:spMk id="40" creationId="{76B9F210-0F5D-8FF7-146E-60468ECC98B7}"/>
          </ac:spMkLst>
        </pc:spChg>
        <pc:spChg chg="mod">
          <ac:chgData name="Jiayi Deng" userId="S::jiayideng@uchicago.edu::1a00fe64-c1f9-48ee-8835-dcb79118203c" providerId="AD" clId="Web-{BF06A060-7D29-4C2E-824A-1D92F5DE8611}" dt="2023-12-08T08:53:26.994" v="35" actId="1076"/>
          <ac:spMkLst>
            <pc:docMk/>
            <pc:sldMk cId="259811885" sldId="349"/>
            <ac:spMk id="41" creationId="{1483F765-79D9-4C5C-6E76-B1B15280A56C}"/>
          </ac:spMkLst>
        </pc:spChg>
        <pc:spChg chg="mod">
          <ac:chgData name="Jiayi Deng" userId="S::jiayideng@uchicago.edu::1a00fe64-c1f9-48ee-8835-dcb79118203c" providerId="AD" clId="Web-{BF06A060-7D29-4C2E-824A-1D92F5DE8611}" dt="2023-12-08T08:53:27.026" v="36" actId="1076"/>
          <ac:spMkLst>
            <pc:docMk/>
            <pc:sldMk cId="259811885" sldId="349"/>
            <ac:spMk id="42" creationId="{FF3BF040-9C7B-0D50-FD73-3AA38F5DC81D}"/>
          </ac:spMkLst>
        </pc:spChg>
        <pc:spChg chg="mod">
          <ac:chgData name="Jiayi Deng" userId="S::jiayideng@uchicago.edu::1a00fe64-c1f9-48ee-8835-dcb79118203c" providerId="AD" clId="Web-{BF06A060-7D29-4C2E-824A-1D92F5DE8611}" dt="2023-12-08T08:49:17.004" v="8" actId="14100"/>
          <ac:spMkLst>
            <pc:docMk/>
            <pc:sldMk cId="259811885" sldId="349"/>
            <ac:spMk id="48" creationId="{C4D38A8B-2776-34EA-021E-C1FF2D0725F9}"/>
          </ac:spMkLst>
        </pc:spChg>
        <pc:grpChg chg="mod">
          <ac:chgData name="Jiayi Deng" userId="S::jiayideng@uchicago.edu::1a00fe64-c1f9-48ee-8835-dcb79118203c" providerId="AD" clId="Web-{BF06A060-7D29-4C2E-824A-1D92F5DE8611}" dt="2023-12-08T08:53:26.963" v="34" actId="1076"/>
          <ac:grpSpMkLst>
            <pc:docMk/>
            <pc:sldMk cId="259811885" sldId="349"/>
            <ac:grpSpMk id="34" creationId="{7DA7F59F-2B80-D549-3345-F41D82A49868}"/>
          </ac:grpSpMkLst>
        </pc:grpChg>
        <pc:grpChg chg="mod">
          <ac:chgData name="Jiayi Deng" userId="S::jiayideng@uchicago.edu::1a00fe64-c1f9-48ee-8835-dcb79118203c" providerId="AD" clId="Web-{BF06A060-7D29-4C2E-824A-1D92F5DE8611}" dt="2023-12-08T08:53:27.041" v="37" actId="1076"/>
          <ac:grpSpMkLst>
            <pc:docMk/>
            <pc:sldMk cId="259811885" sldId="349"/>
            <ac:grpSpMk id="43" creationId="{1CCD23A9-53EA-1BF4-F5B2-03A88F90DA40}"/>
          </ac:grpSpMkLst>
        </pc:grpChg>
      </pc:sldChg>
      <pc:sldMasterChg chg="mod modSldLayout">
        <pc:chgData name="Jiayi Deng" userId="S::jiayideng@uchicago.edu::1a00fe64-c1f9-48ee-8835-dcb79118203c" providerId="AD" clId="Web-{BF06A060-7D29-4C2E-824A-1D92F5DE8611}" dt="2023-12-08T09:28:33.896" v="162"/>
        <pc:sldMasterMkLst>
          <pc:docMk/>
          <pc:sldMasterMk cId="0" sldId="2147483683"/>
        </pc:sldMasterMkLst>
        <pc:sldLayoutChg chg="mod">
          <pc:chgData name="Jiayi Deng" userId="S::jiayideng@uchicago.edu::1a00fe64-c1f9-48ee-8835-dcb79118203c" providerId="AD" clId="Web-{BF06A060-7D29-4C2E-824A-1D92F5DE8611}" dt="2023-12-08T09:28:33.896" v="162"/>
          <pc:sldLayoutMkLst>
            <pc:docMk/>
            <pc:sldMasterMk cId="0" sldId="2147483683"/>
            <pc:sldLayoutMk cId="0" sldId="2147483648"/>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49"/>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0"/>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1"/>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2"/>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3"/>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5"/>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6"/>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7"/>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8"/>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59"/>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0"/>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1"/>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2"/>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3"/>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4"/>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5"/>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6"/>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7"/>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8"/>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69"/>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0"/>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1"/>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2"/>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3"/>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4"/>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5"/>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6"/>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7"/>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8"/>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79"/>
          </pc:sldLayoutMkLst>
        </pc:sldLayoutChg>
        <pc:sldLayoutChg chg="mod">
          <pc:chgData name="Jiayi Deng" userId="S::jiayideng@uchicago.edu::1a00fe64-c1f9-48ee-8835-dcb79118203c" providerId="AD" clId="Web-{BF06A060-7D29-4C2E-824A-1D92F5DE8611}" dt="2023-12-08T09:28:33.896" v="162"/>
          <pc:sldLayoutMkLst>
            <pc:docMk/>
            <pc:sldMasterMk cId="0" sldId="2147483683"/>
            <pc:sldLayoutMk cId="0" sldId="2147483680"/>
          </pc:sldLayoutMkLst>
        </pc:sldLayoutChg>
      </pc:sldMasterChg>
      <pc:sldMasterChg chg="mod modSldLayout">
        <pc:chgData name="Jiayi Deng" userId="S::jiayideng@uchicago.edu::1a00fe64-c1f9-48ee-8835-dcb79118203c" providerId="AD" clId="Web-{BF06A060-7D29-4C2E-824A-1D92F5DE8611}" dt="2023-12-08T09:28:33.896" v="162"/>
        <pc:sldMasterMkLst>
          <pc:docMk/>
          <pc:sldMasterMk cId="0" sldId="2147483684"/>
        </pc:sldMasterMkLst>
        <pc:sldLayoutChg chg="mod">
          <pc:chgData name="Jiayi Deng" userId="S::jiayideng@uchicago.edu::1a00fe64-c1f9-48ee-8835-dcb79118203c" providerId="AD" clId="Web-{BF06A060-7D29-4C2E-824A-1D92F5DE8611}" dt="2023-12-08T09:28:33.896" v="162"/>
          <pc:sldLayoutMkLst>
            <pc:docMk/>
            <pc:sldMasterMk cId="0" sldId="2147483684"/>
            <pc:sldLayoutMk cId="0" sldId="2147483681"/>
          </pc:sldLayoutMkLst>
        </pc:sldLayoutChg>
        <pc:sldLayoutChg chg="mod">
          <pc:chgData name="Jiayi Deng" userId="S::jiayideng@uchicago.edu::1a00fe64-c1f9-48ee-8835-dcb79118203c" providerId="AD" clId="Web-{BF06A060-7D29-4C2E-824A-1D92F5DE8611}" dt="2023-12-08T09:28:33.896" v="162"/>
          <pc:sldLayoutMkLst>
            <pc:docMk/>
            <pc:sldMasterMk cId="0" sldId="2147483684"/>
            <pc:sldLayoutMk cId="0" sldId="2147483682"/>
          </pc:sldLayoutMkLst>
        </pc:sldLayoutChg>
      </pc:sldMasterChg>
    </pc:docChg>
  </pc:docChgLst>
  <pc:docChgLst>
    <pc:chgData name="Serena Shi" userId="3639e786-f11f-4e1d-b435-308c41a4e053" providerId="ADAL" clId="{704A293E-8E4F-144B-A434-111D8152FA5D}"/>
    <pc:docChg chg="undo custSel addSld delSld modSld sldOrd delMainMaster modSection">
      <pc:chgData name="Serena Shi" userId="3639e786-f11f-4e1d-b435-308c41a4e053" providerId="ADAL" clId="{704A293E-8E4F-144B-A434-111D8152FA5D}" dt="2023-12-08T23:30:19.292" v="890" actId="2696"/>
      <pc:docMkLst>
        <pc:docMk/>
      </pc:docMkLst>
      <pc:sldChg chg="modSp mod">
        <pc:chgData name="Serena Shi" userId="3639e786-f11f-4e1d-b435-308c41a4e053" providerId="ADAL" clId="{704A293E-8E4F-144B-A434-111D8152FA5D}" dt="2023-12-08T22:33:23.384" v="830" actId="1076"/>
        <pc:sldMkLst>
          <pc:docMk/>
          <pc:sldMk cId="0" sldId="256"/>
        </pc:sldMkLst>
        <pc:picChg chg="mod">
          <ac:chgData name="Serena Shi" userId="3639e786-f11f-4e1d-b435-308c41a4e053" providerId="ADAL" clId="{704A293E-8E4F-144B-A434-111D8152FA5D}" dt="2023-12-08T22:33:23.384" v="830" actId="1076"/>
          <ac:picMkLst>
            <pc:docMk/>
            <pc:sldMk cId="0" sldId="256"/>
            <ac:picMk id="181" creationId="{00000000-0000-0000-0000-000000000000}"/>
          </ac:picMkLst>
        </pc:picChg>
      </pc:sldChg>
      <pc:sldChg chg="delSp del mod">
        <pc:chgData name="Serena Shi" userId="3639e786-f11f-4e1d-b435-308c41a4e053" providerId="ADAL" clId="{704A293E-8E4F-144B-A434-111D8152FA5D}" dt="2023-12-08T23:30:18.508" v="889" actId="2696"/>
        <pc:sldMkLst>
          <pc:docMk/>
          <pc:sldMk cId="0" sldId="262"/>
        </pc:sldMkLst>
        <pc:spChg chg="del">
          <ac:chgData name="Serena Shi" userId="3639e786-f11f-4e1d-b435-308c41a4e053" providerId="ADAL" clId="{704A293E-8E4F-144B-A434-111D8152FA5D}" dt="2023-12-06T19:33:41.908" v="0" actId="478"/>
          <ac:spMkLst>
            <pc:docMk/>
            <pc:sldMk cId="0" sldId="262"/>
            <ac:spMk id="248" creationId="{00000000-0000-0000-0000-000000000000}"/>
          </ac:spMkLst>
        </pc:spChg>
      </pc:sldChg>
      <pc:sldChg chg="del">
        <pc:chgData name="Serena Shi" userId="3639e786-f11f-4e1d-b435-308c41a4e053" providerId="ADAL" clId="{704A293E-8E4F-144B-A434-111D8152FA5D}" dt="2023-12-08T23:30:16.657" v="887" actId="2696"/>
        <pc:sldMkLst>
          <pc:docMk/>
          <pc:sldMk cId="0" sldId="265"/>
        </pc:sldMkLst>
      </pc:sldChg>
      <pc:sldChg chg="del">
        <pc:chgData name="Serena Shi" userId="3639e786-f11f-4e1d-b435-308c41a4e053" providerId="ADAL" clId="{704A293E-8E4F-144B-A434-111D8152FA5D}" dt="2023-12-08T23:30:16.337" v="886" actId="2696"/>
        <pc:sldMkLst>
          <pc:docMk/>
          <pc:sldMk cId="0" sldId="267"/>
        </pc:sldMkLst>
      </pc:sldChg>
      <pc:sldChg chg="del">
        <pc:chgData name="Serena Shi" userId="3639e786-f11f-4e1d-b435-308c41a4e053" providerId="ADAL" clId="{704A293E-8E4F-144B-A434-111D8152FA5D}" dt="2023-12-08T23:30:15.979" v="884" actId="2696"/>
        <pc:sldMkLst>
          <pc:docMk/>
          <pc:sldMk cId="0" sldId="268"/>
        </pc:sldMkLst>
      </pc:sldChg>
      <pc:sldChg chg="del">
        <pc:chgData name="Serena Shi" userId="3639e786-f11f-4e1d-b435-308c41a4e053" providerId="ADAL" clId="{704A293E-8E4F-144B-A434-111D8152FA5D}" dt="2023-12-08T23:30:15.478" v="882" actId="2696"/>
        <pc:sldMkLst>
          <pc:docMk/>
          <pc:sldMk cId="0" sldId="269"/>
        </pc:sldMkLst>
      </pc:sldChg>
      <pc:sldChg chg="del">
        <pc:chgData name="Serena Shi" userId="3639e786-f11f-4e1d-b435-308c41a4e053" providerId="ADAL" clId="{704A293E-8E4F-144B-A434-111D8152FA5D}" dt="2023-12-08T23:30:15.158" v="881" actId="2696"/>
        <pc:sldMkLst>
          <pc:docMk/>
          <pc:sldMk cId="0" sldId="270"/>
        </pc:sldMkLst>
      </pc:sldChg>
      <pc:sldChg chg="del">
        <pc:chgData name="Serena Shi" userId="3639e786-f11f-4e1d-b435-308c41a4e053" providerId="ADAL" clId="{704A293E-8E4F-144B-A434-111D8152FA5D}" dt="2023-12-08T23:30:14.755" v="879" actId="2696"/>
        <pc:sldMkLst>
          <pc:docMk/>
          <pc:sldMk cId="0" sldId="273"/>
        </pc:sldMkLst>
      </pc:sldChg>
      <pc:sldChg chg="del">
        <pc:chgData name="Serena Shi" userId="3639e786-f11f-4e1d-b435-308c41a4e053" providerId="ADAL" clId="{704A293E-8E4F-144B-A434-111D8152FA5D}" dt="2023-12-08T23:30:14.527" v="878" actId="2696"/>
        <pc:sldMkLst>
          <pc:docMk/>
          <pc:sldMk cId="0" sldId="274"/>
        </pc:sldMkLst>
      </pc:sldChg>
      <pc:sldChg chg="del">
        <pc:chgData name="Serena Shi" userId="3639e786-f11f-4e1d-b435-308c41a4e053" providerId="ADAL" clId="{704A293E-8E4F-144B-A434-111D8152FA5D}" dt="2023-12-08T23:30:14.173" v="876" actId="2696"/>
        <pc:sldMkLst>
          <pc:docMk/>
          <pc:sldMk cId="0" sldId="275"/>
        </pc:sldMkLst>
      </pc:sldChg>
      <pc:sldChg chg="del">
        <pc:chgData name="Serena Shi" userId="3639e786-f11f-4e1d-b435-308c41a4e053" providerId="ADAL" clId="{704A293E-8E4F-144B-A434-111D8152FA5D}" dt="2023-12-08T23:30:13.848" v="874" actId="2696"/>
        <pc:sldMkLst>
          <pc:docMk/>
          <pc:sldMk cId="0" sldId="276"/>
        </pc:sldMkLst>
      </pc:sldChg>
      <pc:sldChg chg="del">
        <pc:chgData name="Serena Shi" userId="3639e786-f11f-4e1d-b435-308c41a4e053" providerId="ADAL" clId="{704A293E-8E4F-144B-A434-111D8152FA5D}" dt="2023-12-08T23:30:13.561" v="872" actId="2696"/>
        <pc:sldMkLst>
          <pc:docMk/>
          <pc:sldMk cId="0" sldId="277"/>
        </pc:sldMkLst>
      </pc:sldChg>
      <pc:sldChg chg="del">
        <pc:chgData name="Serena Shi" userId="3639e786-f11f-4e1d-b435-308c41a4e053" providerId="ADAL" clId="{704A293E-8E4F-144B-A434-111D8152FA5D}" dt="2023-12-08T23:30:12.827" v="871" actId="2696"/>
        <pc:sldMkLst>
          <pc:docMk/>
          <pc:sldMk cId="0" sldId="278"/>
        </pc:sldMkLst>
      </pc:sldChg>
      <pc:sldChg chg="del">
        <pc:chgData name="Serena Shi" userId="3639e786-f11f-4e1d-b435-308c41a4e053" providerId="ADAL" clId="{704A293E-8E4F-144B-A434-111D8152FA5D}" dt="2023-12-08T23:30:12.509" v="869" actId="2696"/>
        <pc:sldMkLst>
          <pc:docMk/>
          <pc:sldMk cId="0" sldId="279"/>
        </pc:sldMkLst>
      </pc:sldChg>
      <pc:sldChg chg="del">
        <pc:chgData name="Serena Shi" userId="3639e786-f11f-4e1d-b435-308c41a4e053" providerId="ADAL" clId="{704A293E-8E4F-144B-A434-111D8152FA5D}" dt="2023-12-08T23:30:11.958" v="867" actId="2696"/>
        <pc:sldMkLst>
          <pc:docMk/>
          <pc:sldMk cId="0" sldId="280"/>
        </pc:sldMkLst>
      </pc:sldChg>
      <pc:sldChg chg="del">
        <pc:chgData name="Serena Shi" userId="3639e786-f11f-4e1d-b435-308c41a4e053" providerId="ADAL" clId="{704A293E-8E4F-144B-A434-111D8152FA5D}" dt="2023-12-08T23:30:11.220" v="865" actId="2696"/>
        <pc:sldMkLst>
          <pc:docMk/>
          <pc:sldMk cId="0" sldId="282"/>
        </pc:sldMkLst>
      </pc:sldChg>
      <pc:sldChg chg="del">
        <pc:chgData name="Serena Shi" userId="3639e786-f11f-4e1d-b435-308c41a4e053" providerId="ADAL" clId="{704A293E-8E4F-144B-A434-111D8152FA5D}" dt="2023-12-08T23:30:10.988" v="864" actId="2696"/>
        <pc:sldMkLst>
          <pc:docMk/>
          <pc:sldMk cId="0" sldId="283"/>
        </pc:sldMkLst>
      </pc:sldChg>
      <pc:sldChg chg="del">
        <pc:chgData name="Serena Shi" userId="3639e786-f11f-4e1d-b435-308c41a4e053" providerId="ADAL" clId="{704A293E-8E4F-144B-A434-111D8152FA5D}" dt="2023-12-08T23:30:10.724" v="862" actId="2696"/>
        <pc:sldMkLst>
          <pc:docMk/>
          <pc:sldMk cId="0" sldId="284"/>
        </pc:sldMkLst>
      </pc:sldChg>
      <pc:sldChg chg="del">
        <pc:chgData name="Serena Shi" userId="3639e786-f11f-4e1d-b435-308c41a4e053" providerId="ADAL" clId="{704A293E-8E4F-144B-A434-111D8152FA5D}" dt="2023-12-08T23:30:10.494" v="860" actId="2696"/>
        <pc:sldMkLst>
          <pc:docMk/>
          <pc:sldMk cId="0" sldId="287"/>
        </pc:sldMkLst>
      </pc:sldChg>
      <pc:sldChg chg="del">
        <pc:chgData name="Serena Shi" userId="3639e786-f11f-4e1d-b435-308c41a4e053" providerId="ADAL" clId="{704A293E-8E4F-144B-A434-111D8152FA5D}" dt="2023-12-08T23:30:10.186" v="859" actId="2696"/>
        <pc:sldMkLst>
          <pc:docMk/>
          <pc:sldMk cId="0" sldId="289"/>
        </pc:sldMkLst>
      </pc:sldChg>
      <pc:sldChg chg="del">
        <pc:chgData name="Serena Shi" userId="3639e786-f11f-4e1d-b435-308c41a4e053" providerId="ADAL" clId="{704A293E-8E4F-144B-A434-111D8152FA5D}" dt="2023-12-08T23:30:09.603" v="857" actId="2696"/>
        <pc:sldMkLst>
          <pc:docMk/>
          <pc:sldMk cId="0" sldId="290"/>
        </pc:sldMkLst>
      </pc:sldChg>
      <pc:sldChg chg="del">
        <pc:chgData name="Serena Shi" userId="3639e786-f11f-4e1d-b435-308c41a4e053" providerId="ADAL" clId="{704A293E-8E4F-144B-A434-111D8152FA5D}" dt="2023-12-08T23:30:09.416" v="855" actId="2696"/>
        <pc:sldMkLst>
          <pc:docMk/>
          <pc:sldMk cId="0" sldId="291"/>
        </pc:sldMkLst>
      </pc:sldChg>
      <pc:sldChg chg="del">
        <pc:chgData name="Serena Shi" userId="3639e786-f11f-4e1d-b435-308c41a4e053" providerId="ADAL" clId="{704A293E-8E4F-144B-A434-111D8152FA5D}" dt="2023-12-08T23:30:09.221" v="853" actId="2696"/>
        <pc:sldMkLst>
          <pc:docMk/>
          <pc:sldMk cId="0" sldId="292"/>
        </pc:sldMkLst>
      </pc:sldChg>
      <pc:sldChg chg="del">
        <pc:chgData name="Serena Shi" userId="3639e786-f11f-4e1d-b435-308c41a4e053" providerId="ADAL" clId="{704A293E-8E4F-144B-A434-111D8152FA5D}" dt="2023-12-08T23:30:09.055" v="852" actId="2696"/>
        <pc:sldMkLst>
          <pc:docMk/>
          <pc:sldMk cId="0" sldId="293"/>
        </pc:sldMkLst>
      </pc:sldChg>
      <pc:sldChg chg="del">
        <pc:chgData name="Serena Shi" userId="3639e786-f11f-4e1d-b435-308c41a4e053" providerId="ADAL" clId="{704A293E-8E4F-144B-A434-111D8152FA5D}" dt="2023-12-08T23:30:08.847" v="851" actId="2696"/>
        <pc:sldMkLst>
          <pc:docMk/>
          <pc:sldMk cId="0" sldId="294"/>
        </pc:sldMkLst>
      </pc:sldChg>
      <pc:sldChg chg="del">
        <pc:chgData name="Serena Shi" userId="3639e786-f11f-4e1d-b435-308c41a4e053" providerId="ADAL" clId="{704A293E-8E4F-144B-A434-111D8152FA5D}" dt="2023-12-08T23:30:08.189" v="848" actId="2696"/>
        <pc:sldMkLst>
          <pc:docMk/>
          <pc:sldMk cId="0" sldId="296"/>
        </pc:sldMkLst>
      </pc:sldChg>
      <pc:sldChg chg="del">
        <pc:chgData name="Serena Shi" userId="3639e786-f11f-4e1d-b435-308c41a4e053" providerId="ADAL" clId="{704A293E-8E4F-144B-A434-111D8152FA5D}" dt="2023-12-08T23:30:08.023" v="847" actId="2696"/>
        <pc:sldMkLst>
          <pc:docMk/>
          <pc:sldMk cId="0" sldId="297"/>
        </pc:sldMkLst>
      </pc:sldChg>
      <pc:sldChg chg="del">
        <pc:chgData name="Serena Shi" userId="3639e786-f11f-4e1d-b435-308c41a4e053" providerId="ADAL" clId="{704A293E-8E4F-144B-A434-111D8152FA5D}" dt="2023-12-08T23:30:07.886" v="846" actId="2696"/>
        <pc:sldMkLst>
          <pc:docMk/>
          <pc:sldMk cId="0" sldId="298"/>
        </pc:sldMkLst>
      </pc:sldChg>
      <pc:sldChg chg="del">
        <pc:chgData name="Serena Shi" userId="3639e786-f11f-4e1d-b435-308c41a4e053" providerId="ADAL" clId="{704A293E-8E4F-144B-A434-111D8152FA5D}" dt="2023-12-08T23:30:07.756" v="845" actId="2696"/>
        <pc:sldMkLst>
          <pc:docMk/>
          <pc:sldMk cId="0" sldId="299"/>
        </pc:sldMkLst>
      </pc:sldChg>
      <pc:sldChg chg="del">
        <pc:chgData name="Serena Shi" userId="3639e786-f11f-4e1d-b435-308c41a4e053" providerId="ADAL" clId="{704A293E-8E4F-144B-A434-111D8152FA5D}" dt="2023-12-08T23:30:07.587" v="844" actId="2696"/>
        <pc:sldMkLst>
          <pc:docMk/>
          <pc:sldMk cId="0" sldId="300"/>
        </pc:sldMkLst>
      </pc:sldChg>
      <pc:sldChg chg="del">
        <pc:chgData name="Serena Shi" userId="3639e786-f11f-4e1d-b435-308c41a4e053" providerId="ADAL" clId="{704A293E-8E4F-144B-A434-111D8152FA5D}" dt="2023-12-08T23:30:07.544" v="842" actId="2696"/>
        <pc:sldMkLst>
          <pc:docMk/>
          <pc:sldMk cId="0" sldId="301"/>
        </pc:sldMkLst>
      </pc:sldChg>
      <pc:sldChg chg="del">
        <pc:chgData name="Serena Shi" userId="3639e786-f11f-4e1d-b435-308c41a4e053" providerId="ADAL" clId="{704A293E-8E4F-144B-A434-111D8152FA5D}" dt="2023-12-08T23:30:07.322" v="841" actId="2696"/>
        <pc:sldMkLst>
          <pc:docMk/>
          <pc:sldMk cId="0" sldId="302"/>
        </pc:sldMkLst>
      </pc:sldChg>
      <pc:sldChg chg="del">
        <pc:chgData name="Serena Shi" userId="3639e786-f11f-4e1d-b435-308c41a4e053" providerId="ADAL" clId="{704A293E-8E4F-144B-A434-111D8152FA5D}" dt="2023-12-08T23:30:07.115" v="840" actId="2696"/>
        <pc:sldMkLst>
          <pc:docMk/>
          <pc:sldMk cId="0" sldId="303"/>
        </pc:sldMkLst>
      </pc:sldChg>
      <pc:sldChg chg="del">
        <pc:chgData name="Serena Shi" userId="3639e786-f11f-4e1d-b435-308c41a4e053" providerId="ADAL" clId="{704A293E-8E4F-144B-A434-111D8152FA5D}" dt="2023-12-08T23:30:06.966" v="839" actId="2696"/>
        <pc:sldMkLst>
          <pc:docMk/>
          <pc:sldMk cId="0" sldId="304"/>
        </pc:sldMkLst>
      </pc:sldChg>
      <pc:sldChg chg="del">
        <pc:chgData name="Serena Shi" userId="3639e786-f11f-4e1d-b435-308c41a4e053" providerId="ADAL" clId="{704A293E-8E4F-144B-A434-111D8152FA5D}" dt="2023-12-08T23:30:06.812" v="838" actId="2696"/>
        <pc:sldMkLst>
          <pc:docMk/>
          <pc:sldMk cId="0" sldId="305"/>
        </pc:sldMkLst>
      </pc:sldChg>
      <pc:sldChg chg="del">
        <pc:chgData name="Serena Shi" userId="3639e786-f11f-4e1d-b435-308c41a4e053" providerId="ADAL" clId="{704A293E-8E4F-144B-A434-111D8152FA5D}" dt="2023-12-08T23:30:06.692" v="837" actId="2696"/>
        <pc:sldMkLst>
          <pc:docMk/>
          <pc:sldMk cId="0" sldId="306"/>
        </pc:sldMkLst>
      </pc:sldChg>
      <pc:sldChg chg="del">
        <pc:chgData name="Serena Shi" userId="3639e786-f11f-4e1d-b435-308c41a4e053" providerId="ADAL" clId="{704A293E-8E4F-144B-A434-111D8152FA5D}" dt="2023-12-08T23:30:06.514" v="836" actId="2696"/>
        <pc:sldMkLst>
          <pc:docMk/>
          <pc:sldMk cId="0" sldId="307"/>
        </pc:sldMkLst>
      </pc:sldChg>
      <pc:sldChg chg="del">
        <pc:chgData name="Serena Shi" userId="3639e786-f11f-4e1d-b435-308c41a4e053" providerId="ADAL" clId="{704A293E-8E4F-144B-A434-111D8152FA5D}" dt="2023-12-08T23:30:06.333" v="835" actId="2696"/>
        <pc:sldMkLst>
          <pc:docMk/>
          <pc:sldMk cId="0" sldId="308"/>
        </pc:sldMkLst>
      </pc:sldChg>
      <pc:sldChg chg="del">
        <pc:chgData name="Serena Shi" userId="3639e786-f11f-4e1d-b435-308c41a4e053" providerId="ADAL" clId="{704A293E-8E4F-144B-A434-111D8152FA5D}" dt="2023-12-08T23:30:06.151" v="834" actId="2696"/>
        <pc:sldMkLst>
          <pc:docMk/>
          <pc:sldMk cId="0" sldId="309"/>
        </pc:sldMkLst>
      </pc:sldChg>
      <pc:sldChg chg="del">
        <pc:chgData name="Serena Shi" userId="3639e786-f11f-4e1d-b435-308c41a4e053" providerId="ADAL" clId="{704A293E-8E4F-144B-A434-111D8152FA5D}" dt="2023-12-08T23:30:05.853" v="833" actId="2696"/>
        <pc:sldMkLst>
          <pc:docMk/>
          <pc:sldMk cId="0" sldId="310"/>
        </pc:sldMkLst>
      </pc:sldChg>
      <pc:sldChg chg="del">
        <pc:chgData name="Serena Shi" userId="3639e786-f11f-4e1d-b435-308c41a4e053" providerId="ADAL" clId="{704A293E-8E4F-144B-A434-111D8152FA5D}" dt="2023-12-08T23:30:05.280" v="832" actId="2696"/>
        <pc:sldMkLst>
          <pc:docMk/>
          <pc:sldMk cId="0" sldId="311"/>
        </pc:sldMkLst>
      </pc:sldChg>
      <pc:sldChg chg="del">
        <pc:chgData name="Serena Shi" userId="3639e786-f11f-4e1d-b435-308c41a4e053" providerId="ADAL" clId="{704A293E-8E4F-144B-A434-111D8152FA5D}" dt="2023-12-08T23:30:04.735" v="831" actId="2696"/>
        <pc:sldMkLst>
          <pc:docMk/>
          <pc:sldMk cId="0" sldId="312"/>
        </pc:sldMkLst>
      </pc:sldChg>
      <pc:sldChg chg="del">
        <pc:chgData name="Serena Shi" userId="3639e786-f11f-4e1d-b435-308c41a4e053" providerId="ADAL" clId="{704A293E-8E4F-144B-A434-111D8152FA5D}" dt="2023-12-08T00:33:14.879" v="815" actId="2696"/>
        <pc:sldMkLst>
          <pc:docMk/>
          <pc:sldMk cId="0" sldId="313"/>
        </pc:sldMkLst>
      </pc:sldChg>
      <pc:sldChg chg="addSp delSp modSp new mod modNotesTx">
        <pc:chgData name="Serena Shi" userId="3639e786-f11f-4e1d-b435-308c41a4e053" providerId="ADAL" clId="{704A293E-8E4F-144B-A434-111D8152FA5D}" dt="2023-12-08T21:11:39.166" v="828" actId="20577"/>
        <pc:sldMkLst>
          <pc:docMk/>
          <pc:sldMk cId="3942716630" sldId="324"/>
        </pc:sldMkLst>
        <pc:spChg chg="del">
          <ac:chgData name="Serena Shi" userId="3639e786-f11f-4e1d-b435-308c41a4e053" providerId="ADAL" clId="{704A293E-8E4F-144B-A434-111D8152FA5D}" dt="2023-12-06T19:33:54.665" v="5" actId="478"/>
          <ac:spMkLst>
            <pc:docMk/>
            <pc:sldMk cId="3942716630" sldId="324"/>
            <ac:spMk id="2" creationId="{3A1C6F2F-3417-60A1-6D6C-02BFD31562EC}"/>
          </ac:spMkLst>
        </pc:spChg>
        <pc:spChg chg="del">
          <ac:chgData name="Serena Shi" userId="3639e786-f11f-4e1d-b435-308c41a4e053" providerId="ADAL" clId="{704A293E-8E4F-144B-A434-111D8152FA5D}" dt="2023-12-06T19:33:49.381" v="2" actId="478"/>
          <ac:spMkLst>
            <pc:docMk/>
            <pc:sldMk cId="3942716630" sldId="324"/>
            <ac:spMk id="3" creationId="{9750D6E3-B914-319E-C02F-D86738309282}"/>
          </ac:spMkLst>
        </pc:spChg>
        <pc:spChg chg="mod">
          <ac:chgData name="Serena Shi" userId="3639e786-f11f-4e1d-b435-308c41a4e053" providerId="ADAL" clId="{704A293E-8E4F-144B-A434-111D8152FA5D}" dt="2023-12-07T20:10:46.944" v="539"/>
          <ac:spMkLst>
            <pc:docMk/>
            <pc:sldMk cId="3942716630" sldId="324"/>
            <ac:spMk id="3" creationId="{BADBEC72-98E3-DF9F-3E1B-20FE75D6A1A2}"/>
          </ac:spMkLst>
        </pc:spChg>
        <pc:spChg chg="mod">
          <ac:chgData name="Serena Shi" userId="3639e786-f11f-4e1d-b435-308c41a4e053" providerId="ADAL" clId="{704A293E-8E4F-144B-A434-111D8152FA5D}" dt="2023-12-07T20:10:46.944" v="539"/>
          <ac:spMkLst>
            <pc:docMk/>
            <pc:sldMk cId="3942716630" sldId="324"/>
            <ac:spMk id="4" creationId="{C9B1444E-8572-7BB0-8357-B01654461B3E}"/>
          </ac:spMkLst>
        </pc:spChg>
        <pc:spChg chg="del">
          <ac:chgData name="Serena Shi" userId="3639e786-f11f-4e1d-b435-308c41a4e053" providerId="ADAL" clId="{704A293E-8E4F-144B-A434-111D8152FA5D}" dt="2023-12-06T19:33:56.720" v="6" actId="478"/>
          <ac:spMkLst>
            <pc:docMk/>
            <pc:sldMk cId="3942716630" sldId="324"/>
            <ac:spMk id="4" creationId="{FE214B96-E4B3-7168-4C59-7A1409C82488}"/>
          </ac:spMkLst>
        </pc:spChg>
        <pc:spChg chg="add del mod">
          <ac:chgData name="Serena Shi" userId="3639e786-f11f-4e1d-b435-308c41a4e053" providerId="ADAL" clId="{704A293E-8E4F-144B-A434-111D8152FA5D}" dt="2023-12-06T19:45:25.712" v="74"/>
          <ac:spMkLst>
            <pc:docMk/>
            <pc:sldMk cId="3942716630" sldId="324"/>
            <ac:spMk id="7" creationId="{4E46BBFF-260D-CD4B-2EA2-B3EC523F096B}"/>
          </ac:spMkLst>
        </pc:spChg>
        <pc:spChg chg="mod">
          <ac:chgData name="Serena Shi" userId="3639e786-f11f-4e1d-b435-308c41a4e053" providerId="ADAL" clId="{704A293E-8E4F-144B-A434-111D8152FA5D}" dt="2023-12-07T20:10:46.944" v="539"/>
          <ac:spMkLst>
            <pc:docMk/>
            <pc:sldMk cId="3942716630" sldId="324"/>
            <ac:spMk id="7" creationId="{54B3B723-B0E1-9815-B76F-4235F799FAC9}"/>
          </ac:spMkLst>
        </pc:spChg>
        <pc:spChg chg="add mod">
          <ac:chgData name="Serena Shi" userId="3639e786-f11f-4e1d-b435-308c41a4e053" providerId="ADAL" clId="{704A293E-8E4F-144B-A434-111D8152FA5D}" dt="2023-12-07T20:11:15.483" v="547" actId="1076"/>
          <ac:spMkLst>
            <pc:docMk/>
            <pc:sldMk cId="3942716630" sldId="324"/>
            <ac:spMk id="8" creationId="{8530242F-1C71-BF70-EA91-BCDB28CDDCF4}"/>
          </ac:spMkLst>
        </pc:spChg>
        <pc:spChg chg="add mod">
          <ac:chgData name="Serena Shi" userId="3639e786-f11f-4e1d-b435-308c41a4e053" providerId="ADAL" clId="{704A293E-8E4F-144B-A434-111D8152FA5D}" dt="2023-12-07T20:15:14.024" v="565" actId="1076"/>
          <ac:spMkLst>
            <pc:docMk/>
            <pc:sldMk cId="3942716630" sldId="324"/>
            <ac:spMk id="9" creationId="{6D165CDF-7CB6-2A47-57BC-FB2C2F8673C5}"/>
          </ac:spMkLst>
        </pc:spChg>
        <pc:spChg chg="add del">
          <ac:chgData name="Serena Shi" userId="3639e786-f11f-4e1d-b435-308c41a4e053" providerId="ADAL" clId="{704A293E-8E4F-144B-A434-111D8152FA5D}" dt="2023-12-06T19:49:23.881" v="188" actId="478"/>
          <ac:spMkLst>
            <pc:docMk/>
            <pc:sldMk cId="3942716630" sldId="324"/>
            <ac:spMk id="10" creationId="{51336444-678C-67A3-74B4-D78BA602BB38}"/>
          </ac:spMkLst>
        </pc:spChg>
        <pc:spChg chg="mod">
          <ac:chgData name="Serena Shi" userId="3639e786-f11f-4e1d-b435-308c41a4e053" providerId="ADAL" clId="{704A293E-8E4F-144B-A434-111D8152FA5D}" dt="2023-12-07T20:10:46.944" v="539"/>
          <ac:spMkLst>
            <pc:docMk/>
            <pc:sldMk cId="3942716630" sldId="324"/>
            <ac:spMk id="10" creationId="{A5C4DA96-CC43-92F1-9809-007DE9230834}"/>
          </ac:spMkLst>
        </pc:spChg>
        <pc:spChg chg="add mod">
          <ac:chgData name="Serena Shi" userId="3639e786-f11f-4e1d-b435-308c41a4e053" providerId="ADAL" clId="{704A293E-8E4F-144B-A434-111D8152FA5D}" dt="2023-12-06T19:52:49.780" v="208" actId="1076"/>
          <ac:spMkLst>
            <pc:docMk/>
            <pc:sldMk cId="3942716630" sldId="324"/>
            <ac:spMk id="11" creationId="{2E9E12C9-E803-846F-3D53-6C8FD672385D}"/>
          </ac:spMkLst>
        </pc:spChg>
        <pc:spChg chg="add mod">
          <ac:chgData name="Serena Shi" userId="3639e786-f11f-4e1d-b435-308c41a4e053" providerId="ADAL" clId="{704A293E-8E4F-144B-A434-111D8152FA5D}" dt="2023-12-06T19:51:30.219" v="200" actId="692"/>
          <ac:spMkLst>
            <pc:docMk/>
            <pc:sldMk cId="3942716630" sldId="324"/>
            <ac:spMk id="12" creationId="{6F3F0E8B-D628-9C29-84A6-1CDB91ABFB0D}"/>
          </ac:spMkLst>
        </pc:spChg>
        <pc:spChg chg="mod">
          <ac:chgData name="Serena Shi" userId="3639e786-f11f-4e1d-b435-308c41a4e053" providerId="ADAL" clId="{704A293E-8E4F-144B-A434-111D8152FA5D}" dt="2023-12-07T20:10:46.944" v="539"/>
          <ac:spMkLst>
            <pc:docMk/>
            <pc:sldMk cId="3942716630" sldId="324"/>
            <ac:spMk id="13" creationId="{0F3F5881-F74C-4C5A-78BB-B2A28A47B2E8}"/>
          </ac:spMkLst>
        </pc:spChg>
        <pc:spChg chg="mod">
          <ac:chgData name="Serena Shi" userId="3639e786-f11f-4e1d-b435-308c41a4e053" providerId="ADAL" clId="{704A293E-8E4F-144B-A434-111D8152FA5D}" dt="2023-12-07T20:10:46.944" v="539"/>
          <ac:spMkLst>
            <pc:docMk/>
            <pc:sldMk cId="3942716630" sldId="324"/>
            <ac:spMk id="14" creationId="{22F8127A-787B-0EAF-E9FE-960BE6302590}"/>
          </ac:spMkLst>
        </pc:spChg>
        <pc:spChg chg="mod">
          <ac:chgData name="Serena Shi" userId="3639e786-f11f-4e1d-b435-308c41a4e053" providerId="ADAL" clId="{704A293E-8E4F-144B-A434-111D8152FA5D}" dt="2023-12-07T20:10:46.944" v="539"/>
          <ac:spMkLst>
            <pc:docMk/>
            <pc:sldMk cId="3942716630" sldId="324"/>
            <ac:spMk id="16" creationId="{810C6FE2-A074-B2DD-7AEE-CF5B664F306B}"/>
          </ac:spMkLst>
        </pc:spChg>
        <pc:spChg chg="mod">
          <ac:chgData name="Serena Shi" userId="3639e786-f11f-4e1d-b435-308c41a4e053" providerId="ADAL" clId="{704A293E-8E4F-144B-A434-111D8152FA5D}" dt="2023-12-07T20:10:46.944" v="539"/>
          <ac:spMkLst>
            <pc:docMk/>
            <pc:sldMk cId="3942716630" sldId="324"/>
            <ac:spMk id="17" creationId="{C37DEC69-0699-82AB-6568-63F34772D70E}"/>
          </ac:spMkLst>
        </pc:spChg>
        <pc:spChg chg="mod">
          <ac:chgData name="Serena Shi" userId="3639e786-f11f-4e1d-b435-308c41a4e053" providerId="ADAL" clId="{704A293E-8E4F-144B-A434-111D8152FA5D}" dt="2023-12-07T20:10:46.944" v="539"/>
          <ac:spMkLst>
            <pc:docMk/>
            <pc:sldMk cId="3942716630" sldId="324"/>
            <ac:spMk id="18" creationId="{AD8D55D8-0803-97DB-64EC-F6C175BC4981}"/>
          </ac:spMkLst>
        </pc:spChg>
        <pc:spChg chg="mod">
          <ac:chgData name="Serena Shi" userId="3639e786-f11f-4e1d-b435-308c41a4e053" providerId="ADAL" clId="{704A293E-8E4F-144B-A434-111D8152FA5D}" dt="2023-12-07T20:10:46.944" v="539"/>
          <ac:spMkLst>
            <pc:docMk/>
            <pc:sldMk cId="3942716630" sldId="324"/>
            <ac:spMk id="19" creationId="{3EB03F26-F1CD-97D6-798F-8B2DCC9577EF}"/>
          </ac:spMkLst>
        </pc:spChg>
        <pc:spChg chg="mod">
          <ac:chgData name="Serena Shi" userId="3639e786-f11f-4e1d-b435-308c41a4e053" providerId="ADAL" clId="{704A293E-8E4F-144B-A434-111D8152FA5D}" dt="2023-12-07T20:10:46.944" v="539"/>
          <ac:spMkLst>
            <pc:docMk/>
            <pc:sldMk cId="3942716630" sldId="324"/>
            <ac:spMk id="20" creationId="{E39157E9-865C-D293-17EB-91A21587DC11}"/>
          </ac:spMkLst>
        </pc:spChg>
        <pc:spChg chg="mod">
          <ac:chgData name="Serena Shi" userId="3639e786-f11f-4e1d-b435-308c41a4e053" providerId="ADAL" clId="{704A293E-8E4F-144B-A434-111D8152FA5D}" dt="2023-12-07T20:10:46.944" v="539"/>
          <ac:spMkLst>
            <pc:docMk/>
            <pc:sldMk cId="3942716630" sldId="324"/>
            <ac:spMk id="21" creationId="{686DECE8-F9AA-2A78-EA1B-42350EC9E9E6}"/>
          </ac:spMkLst>
        </pc:spChg>
        <pc:spChg chg="mod">
          <ac:chgData name="Serena Shi" userId="3639e786-f11f-4e1d-b435-308c41a4e053" providerId="ADAL" clId="{704A293E-8E4F-144B-A434-111D8152FA5D}" dt="2023-12-07T20:10:46.944" v="539"/>
          <ac:spMkLst>
            <pc:docMk/>
            <pc:sldMk cId="3942716630" sldId="324"/>
            <ac:spMk id="24" creationId="{AD1235A0-198D-6AB9-6D4B-23A9D2C8827B}"/>
          </ac:spMkLst>
        </pc:spChg>
        <pc:spChg chg="mod">
          <ac:chgData name="Serena Shi" userId="3639e786-f11f-4e1d-b435-308c41a4e053" providerId="ADAL" clId="{704A293E-8E4F-144B-A434-111D8152FA5D}" dt="2023-12-07T20:10:46.944" v="539"/>
          <ac:spMkLst>
            <pc:docMk/>
            <pc:sldMk cId="3942716630" sldId="324"/>
            <ac:spMk id="25" creationId="{1226601B-43C6-78C9-E8A6-B703EA6EFD46}"/>
          </ac:spMkLst>
        </pc:spChg>
        <pc:spChg chg="mod">
          <ac:chgData name="Serena Shi" userId="3639e786-f11f-4e1d-b435-308c41a4e053" providerId="ADAL" clId="{704A293E-8E4F-144B-A434-111D8152FA5D}" dt="2023-12-07T20:10:46.944" v="539"/>
          <ac:spMkLst>
            <pc:docMk/>
            <pc:sldMk cId="3942716630" sldId="324"/>
            <ac:spMk id="26" creationId="{A8581B30-243D-08C6-899C-643889089A25}"/>
          </ac:spMkLst>
        </pc:spChg>
        <pc:spChg chg="mod">
          <ac:chgData name="Serena Shi" userId="3639e786-f11f-4e1d-b435-308c41a4e053" providerId="ADAL" clId="{704A293E-8E4F-144B-A434-111D8152FA5D}" dt="2023-12-07T20:10:46.944" v="539"/>
          <ac:spMkLst>
            <pc:docMk/>
            <pc:sldMk cId="3942716630" sldId="324"/>
            <ac:spMk id="27" creationId="{749AFC52-CB61-11FB-11A8-E7D429028BB7}"/>
          </ac:spMkLst>
        </pc:spChg>
        <pc:spChg chg="mod">
          <ac:chgData name="Serena Shi" userId="3639e786-f11f-4e1d-b435-308c41a4e053" providerId="ADAL" clId="{704A293E-8E4F-144B-A434-111D8152FA5D}" dt="2023-12-07T20:10:46.944" v="539"/>
          <ac:spMkLst>
            <pc:docMk/>
            <pc:sldMk cId="3942716630" sldId="324"/>
            <ac:spMk id="28" creationId="{D5A73720-2892-E678-C7E8-7D69F5D20226}"/>
          </ac:spMkLst>
        </pc:spChg>
        <pc:spChg chg="mod">
          <ac:chgData name="Serena Shi" userId="3639e786-f11f-4e1d-b435-308c41a4e053" providerId="ADAL" clId="{704A293E-8E4F-144B-A434-111D8152FA5D}" dt="2023-12-07T20:10:46.944" v="539"/>
          <ac:spMkLst>
            <pc:docMk/>
            <pc:sldMk cId="3942716630" sldId="324"/>
            <ac:spMk id="29" creationId="{843FF271-16CA-D49F-FD25-CEB16962E908}"/>
          </ac:spMkLst>
        </pc:spChg>
        <pc:spChg chg="mod">
          <ac:chgData name="Serena Shi" userId="3639e786-f11f-4e1d-b435-308c41a4e053" providerId="ADAL" clId="{704A293E-8E4F-144B-A434-111D8152FA5D}" dt="2023-12-07T20:10:46.944" v="539"/>
          <ac:spMkLst>
            <pc:docMk/>
            <pc:sldMk cId="3942716630" sldId="324"/>
            <ac:spMk id="30" creationId="{F2AA198B-CDFF-FD48-AEE9-F79963E9547D}"/>
          </ac:spMkLst>
        </pc:spChg>
        <pc:spChg chg="mod">
          <ac:chgData name="Serena Shi" userId="3639e786-f11f-4e1d-b435-308c41a4e053" providerId="ADAL" clId="{704A293E-8E4F-144B-A434-111D8152FA5D}" dt="2023-12-07T20:10:46.944" v="539"/>
          <ac:spMkLst>
            <pc:docMk/>
            <pc:sldMk cId="3942716630" sldId="324"/>
            <ac:spMk id="31" creationId="{6E3F66C4-ADEF-6DBF-0236-19C918AD8320}"/>
          </ac:spMkLst>
        </pc:spChg>
        <pc:spChg chg="mod">
          <ac:chgData name="Serena Shi" userId="3639e786-f11f-4e1d-b435-308c41a4e053" providerId="ADAL" clId="{704A293E-8E4F-144B-A434-111D8152FA5D}" dt="2023-12-07T20:10:46.944" v="539"/>
          <ac:spMkLst>
            <pc:docMk/>
            <pc:sldMk cId="3942716630" sldId="324"/>
            <ac:spMk id="32" creationId="{F8E254A7-F553-F8A6-CA8D-A8B9993DF375}"/>
          </ac:spMkLst>
        </pc:spChg>
        <pc:spChg chg="mod">
          <ac:chgData name="Serena Shi" userId="3639e786-f11f-4e1d-b435-308c41a4e053" providerId="ADAL" clId="{704A293E-8E4F-144B-A434-111D8152FA5D}" dt="2023-12-07T20:10:46.944" v="539"/>
          <ac:spMkLst>
            <pc:docMk/>
            <pc:sldMk cId="3942716630" sldId="324"/>
            <ac:spMk id="33" creationId="{0FCC53AD-BC79-09D8-882A-4B94B486C214}"/>
          </ac:spMkLst>
        </pc:spChg>
        <pc:spChg chg="mod">
          <ac:chgData name="Serena Shi" userId="3639e786-f11f-4e1d-b435-308c41a4e053" providerId="ADAL" clId="{704A293E-8E4F-144B-A434-111D8152FA5D}" dt="2023-12-07T20:10:46.944" v="539"/>
          <ac:spMkLst>
            <pc:docMk/>
            <pc:sldMk cId="3942716630" sldId="324"/>
            <ac:spMk id="34" creationId="{27B1B694-9B2D-D05A-B770-D0FC659F486E}"/>
          </ac:spMkLst>
        </pc:spChg>
        <pc:spChg chg="mod">
          <ac:chgData name="Serena Shi" userId="3639e786-f11f-4e1d-b435-308c41a4e053" providerId="ADAL" clId="{704A293E-8E4F-144B-A434-111D8152FA5D}" dt="2023-12-07T20:10:46.944" v="539"/>
          <ac:spMkLst>
            <pc:docMk/>
            <pc:sldMk cId="3942716630" sldId="324"/>
            <ac:spMk id="35" creationId="{597BE829-BCE2-A2D7-C924-EE51CB3F831F}"/>
          </ac:spMkLst>
        </pc:spChg>
        <pc:spChg chg="mod">
          <ac:chgData name="Serena Shi" userId="3639e786-f11f-4e1d-b435-308c41a4e053" providerId="ADAL" clId="{704A293E-8E4F-144B-A434-111D8152FA5D}" dt="2023-12-07T20:10:46.944" v="539"/>
          <ac:spMkLst>
            <pc:docMk/>
            <pc:sldMk cId="3942716630" sldId="324"/>
            <ac:spMk id="36" creationId="{9C856C1B-DB48-4966-EA9C-B83470450C92}"/>
          </ac:spMkLst>
        </pc:spChg>
        <pc:spChg chg="mod">
          <ac:chgData name="Serena Shi" userId="3639e786-f11f-4e1d-b435-308c41a4e053" providerId="ADAL" clId="{704A293E-8E4F-144B-A434-111D8152FA5D}" dt="2023-12-07T20:10:46.944" v="539"/>
          <ac:spMkLst>
            <pc:docMk/>
            <pc:sldMk cId="3942716630" sldId="324"/>
            <ac:spMk id="37" creationId="{194C7235-5B42-9C07-C019-3EB28A7C34A0}"/>
          </ac:spMkLst>
        </pc:spChg>
        <pc:spChg chg="mod">
          <ac:chgData name="Serena Shi" userId="3639e786-f11f-4e1d-b435-308c41a4e053" providerId="ADAL" clId="{704A293E-8E4F-144B-A434-111D8152FA5D}" dt="2023-12-07T20:10:46.944" v="539"/>
          <ac:spMkLst>
            <pc:docMk/>
            <pc:sldMk cId="3942716630" sldId="324"/>
            <ac:spMk id="38" creationId="{6C4B6909-64D0-9676-C69E-BF69FD2195C2}"/>
          </ac:spMkLst>
        </pc:spChg>
        <pc:spChg chg="mod">
          <ac:chgData name="Serena Shi" userId="3639e786-f11f-4e1d-b435-308c41a4e053" providerId="ADAL" clId="{704A293E-8E4F-144B-A434-111D8152FA5D}" dt="2023-12-07T20:10:46.944" v="539"/>
          <ac:spMkLst>
            <pc:docMk/>
            <pc:sldMk cId="3942716630" sldId="324"/>
            <ac:spMk id="39" creationId="{0F744F61-2D47-0975-05CA-4DAB45273D6B}"/>
          </ac:spMkLst>
        </pc:spChg>
        <pc:spChg chg="mod">
          <ac:chgData name="Serena Shi" userId="3639e786-f11f-4e1d-b435-308c41a4e053" providerId="ADAL" clId="{704A293E-8E4F-144B-A434-111D8152FA5D}" dt="2023-12-07T20:10:46.944" v="539"/>
          <ac:spMkLst>
            <pc:docMk/>
            <pc:sldMk cId="3942716630" sldId="324"/>
            <ac:spMk id="40" creationId="{31976D3C-1E5E-BD0F-F0C2-9196C4AB656B}"/>
          </ac:spMkLst>
        </pc:spChg>
        <pc:spChg chg="mod">
          <ac:chgData name="Serena Shi" userId="3639e786-f11f-4e1d-b435-308c41a4e053" providerId="ADAL" clId="{704A293E-8E4F-144B-A434-111D8152FA5D}" dt="2023-12-07T20:10:46.944" v="539"/>
          <ac:spMkLst>
            <pc:docMk/>
            <pc:sldMk cId="3942716630" sldId="324"/>
            <ac:spMk id="41" creationId="{A785A015-4F20-9A0A-F072-FAFA896EA841}"/>
          </ac:spMkLst>
        </pc:spChg>
        <pc:spChg chg="mod">
          <ac:chgData name="Serena Shi" userId="3639e786-f11f-4e1d-b435-308c41a4e053" providerId="ADAL" clId="{704A293E-8E4F-144B-A434-111D8152FA5D}" dt="2023-12-07T20:10:46.944" v="539"/>
          <ac:spMkLst>
            <pc:docMk/>
            <pc:sldMk cId="3942716630" sldId="324"/>
            <ac:spMk id="42" creationId="{CFF370FF-E9CD-D0E5-F2D7-F2394D926278}"/>
          </ac:spMkLst>
        </pc:spChg>
        <pc:spChg chg="mod">
          <ac:chgData name="Serena Shi" userId="3639e786-f11f-4e1d-b435-308c41a4e053" providerId="ADAL" clId="{704A293E-8E4F-144B-A434-111D8152FA5D}" dt="2023-12-07T20:10:46.944" v="539"/>
          <ac:spMkLst>
            <pc:docMk/>
            <pc:sldMk cId="3942716630" sldId="324"/>
            <ac:spMk id="43" creationId="{526A33B7-8F77-942C-14A7-0CF87E2C485C}"/>
          </ac:spMkLst>
        </pc:spChg>
        <pc:spChg chg="mod">
          <ac:chgData name="Serena Shi" userId="3639e786-f11f-4e1d-b435-308c41a4e053" providerId="ADAL" clId="{704A293E-8E4F-144B-A434-111D8152FA5D}" dt="2023-12-07T20:10:46.944" v="539"/>
          <ac:spMkLst>
            <pc:docMk/>
            <pc:sldMk cId="3942716630" sldId="324"/>
            <ac:spMk id="44" creationId="{B2A68B1F-46A9-F5B2-2D57-F70C7FF58CC9}"/>
          </ac:spMkLst>
        </pc:spChg>
        <pc:spChg chg="mod">
          <ac:chgData name="Serena Shi" userId="3639e786-f11f-4e1d-b435-308c41a4e053" providerId="ADAL" clId="{704A293E-8E4F-144B-A434-111D8152FA5D}" dt="2023-12-07T20:10:46.944" v="539"/>
          <ac:spMkLst>
            <pc:docMk/>
            <pc:sldMk cId="3942716630" sldId="324"/>
            <ac:spMk id="45" creationId="{6AECD8F6-9501-93D8-2E1B-8E7AC8B2DA8F}"/>
          </ac:spMkLst>
        </pc:spChg>
        <pc:spChg chg="mod">
          <ac:chgData name="Serena Shi" userId="3639e786-f11f-4e1d-b435-308c41a4e053" providerId="ADAL" clId="{704A293E-8E4F-144B-A434-111D8152FA5D}" dt="2023-12-07T20:10:46.944" v="539"/>
          <ac:spMkLst>
            <pc:docMk/>
            <pc:sldMk cId="3942716630" sldId="324"/>
            <ac:spMk id="46" creationId="{24D40014-1B37-8342-90A4-478EF073A412}"/>
          </ac:spMkLst>
        </pc:spChg>
        <pc:spChg chg="mod">
          <ac:chgData name="Serena Shi" userId="3639e786-f11f-4e1d-b435-308c41a4e053" providerId="ADAL" clId="{704A293E-8E4F-144B-A434-111D8152FA5D}" dt="2023-12-07T20:10:46.944" v="539"/>
          <ac:spMkLst>
            <pc:docMk/>
            <pc:sldMk cId="3942716630" sldId="324"/>
            <ac:spMk id="47" creationId="{DB6853A5-47DD-AB4A-5315-4B0050952F87}"/>
          </ac:spMkLst>
        </pc:spChg>
        <pc:spChg chg="mod">
          <ac:chgData name="Serena Shi" userId="3639e786-f11f-4e1d-b435-308c41a4e053" providerId="ADAL" clId="{704A293E-8E4F-144B-A434-111D8152FA5D}" dt="2023-12-07T20:10:46.944" v="539"/>
          <ac:spMkLst>
            <pc:docMk/>
            <pc:sldMk cId="3942716630" sldId="324"/>
            <ac:spMk id="48" creationId="{EDBC8247-471C-B974-C789-EE531C7A8C9E}"/>
          </ac:spMkLst>
        </pc:spChg>
        <pc:spChg chg="mod">
          <ac:chgData name="Serena Shi" userId="3639e786-f11f-4e1d-b435-308c41a4e053" providerId="ADAL" clId="{704A293E-8E4F-144B-A434-111D8152FA5D}" dt="2023-12-07T20:12:14.308" v="549"/>
          <ac:spMkLst>
            <pc:docMk/>
            <pc:sldMk cId="3942716630" sldId="324"/>
            <ac:spMk id="50" creationId="{A52941D6-3CA5-CC9A-6289-56B04CEC0A24}"/>
          </ac:spMkLst>
        </pc:spChg>
        <pc:spChg chg="mod">
          <ac:chgData name="Serena Shi" userId="3639e786-f11f-4e1d-b435-308c41a4e053" providerId="ADAL" clId="{704A293E-8E4F-144B-A434-111D8152FA5D}" dt="2023-12-07T20:12:14.308" v="549"/>
          <ac:spMkLst>
            <pc:docMk/>
            <pc:sldMk cId="3942716630" sldId="324"/>
            <ac:spMk id="51" creationId="{3B3627FC-84B8-57C4-EB2D-D5D9B9590971}"/>
          </ac:spMkLst>
        </pc:spChg>
        <pc:spChg chg="mod">
          <ac:chgData name="Serena Shi" userId="3639e786-f11f-4e1d-b435-308c41a4e053" providerId="ADAL" clId="{704A293E-8E4F-144B-A434-111D8152FA5D}" dt="2023-12-07T20:12:14.308" v="549"/>
          <ac:spMkLst>
            <pc:docMk/>
            <pc:sldMk cId="3942716630" sldId="324"/>
            <ac:spMk id="52" creationId="{1FCBC6D7-AABA-C42B-187A-745AB2689456}"/>
          </ac:spMkLst>
        </pc:spChg>
        <pc:spChg chg="mod">
          <ac:chgData name="Serena Shi" userId="3639e786-f11f-4e1d-b435-308c41a4e053" providerId="ADAL" clId="{704A293E-8E4F-144B-A434-111D8152FA5D}" dt="2023-12-07T20:12:41.144" v="557"/>
          <ac:spMkLst>
            <pc:docMk/>
            <pc:sldMk cId="3942716630" sldId="324"/>
            <ac:spMk id="54" creationId="{7BEED125-B9A5-0ECD-DE03-C434A6DACE46}"/>
          </ac:spMkLst>
        </pc:spChg>
        <pc:spChg chg="mod">
          <ac:chgData name="Serena Shi" userId="3639e786-f11f-4e1d-b435-308c41a4e053" providerId="ADAL" clId="{704A293E-8E4F-144B-A434-111D8152FA5D}" dt="2023-12-07T20:12:41.144" v="557"/>
          <ac:spMkLst>
            <pc:docMk/>
            <pc:sldMk cId="3942716630" sldId="324"/>
            <ac:spMk id="55" creationId="{C680FD8A-637F-AAC7-5A53-0821A2377C69}"/>
          </ac:spMkLst>
        </pc:spChg>
        <pc:spChg chg="mod">
          <ac:chgData name="Serena Shi" userId="3639e786-f11f-4e1d-b435-308c41a4e053" providerId="ADAL" clId="{704A293E-8E4F-144B-A434-111D8152FA5D}" dt="2023-12-07T20:12:41.144" v="557"/>
          <ac:spMkLst>
            <pc:docMk/>
            <pc:sldMk cId="3942716630" sldId="324"/>
            <ac:spMk id="56" creationId="{A22E309B-811C-B0AD-2107-81CF32313DDD}"/>
          </ac:spMkLst>
        </pc:spChg>
        <pc:spChg chg="mod">
          <ac:chgData name="Serena Shi" userId="3639e786-f11f-4e1d-b435-308c41a4e053" providerId="ADAL" clId="{704A293E-8E4F-144B-A434-111D8152FA5D}" dt="2023-12-07T20:14:55.296" v="560"/>
          <ac:spMkLst>
            <pc:docMk/>
            <pc:sldMk cId="3942716630" sldId="324"/>
            <ac:spMk id="58" creationId="{B9EFEE60-283E-5572-84FC-08C82B57D46D}"/>
          </ac:spMkLst>
        </pc:spChg>
        <pc:spChg chg="mod">
          <ac:chgData name="Serena Shi" userId="3639e786-f11f-4e1d-b435-308c41a4e053" providerId="ADAL" clId="{704A293E-8E4F-144B-A434-111D8152FA5D}" dt="2023-12-07T20:14:55.296" v="560"/>
          <ac:spMkLst>
            <pc:docMk/>
            <pc:sldMk cId="3942716630" sldId="324"/>
            <ac:spMk id="59" creationId="{2C4CFFB3-81C5-C9B7-21F0-DBD486DE2320}"/>
          </ac:spMkLst>
        </pc:spChg>
        <pc:grpChg chg="add del mod">
          <ac:chgData name="Serena Shi" userId="3639e786-f11f-4e1d-b435-308c41a4e053" providerId="ADAL" clId="{704A293E-8E4F-144B-A434-111D8152FA5D}" dt="2023-12-07T20:12:37.627" v="556" actId="478"/>
          <ac:grpSpMkLst>
            <pc:docMk/>
            <pc:sldMk cId="3942716630" sldId="324"/>
            <ac:grpSpMk id="2" creationId="{B42D7DA2-9231-B323-CF46-3850331A2FB6}"/>
          </ac:grpSpMkLst>
        </pc:grpChg>
        <pc:grpChg chg="mod">
          <ac:chgData name="Serena Shi" userId="3639e786-f11f-4e1d-b435-308c41a4e053" providerId="ADAL" clId="{704A293E-8E4F-144B-A434-111D8152FA5D}" dt="2023-12-07T20:10:46.944" v="539"/>
          <ac:grpSpMkLst>
            <pc:docMk/>
            <pc:sldMk cId="3942716630" sldId="324"/>
            <ac:grpSpMk id="15" creationId="{60CA3D48-B816-AC1F-AD6F-77FC5D444DBA}"/>
          </ac:grpSpMkLst>
        </pc:grpChg>
        <pc:grpChg chg="mod">
          <ac:chgData name="Serena Shi" userId="3639e786-f11f-4e1d-b435-308c41a4e053" providerId="ADAL" clId="{704A293E-8E4F-144B-A434-111D8152FA5D}" dt="2023-12-07T20:10:46.944" v="539"/>
          <ac:grpSpMkLst>
            <pc:docMk/>
            <pc:sldMk cId="3942716630" sldId="324"/>
            <ac:grpSpMk id="22" creationId="{1CD3C690-B011-9347-24EB-CD5CD87959BE}"/>
          </ac:grpSpMkLst>
        </pc:grpChg>
        <pc:grpChg chg="mod">
          <ac:chgData name="Serena Shi" userId="3639e786-f11f-4e1d-b435-308c41a4e053" providerId="ADAL" clId="{704A293E-8E4F-144B-A434-111D8152FA5D}" dt="2023-12-07T20:10:46.944" v="539"/>
          <ac:grpSpMkLst>
            <pc:docMk/>
            <pc:sldMk cId="3942716630" sldId="324"/>
            <ac:grpSpMk id="23" creationId="{7C0D42D0-77C9-9E53-B509-F7A196AA9C4C}"/>
          </ac:grpSpMkLst>
        </pc:grpChg>
        <pc:grpChg chg="add del mod">
          <ac:chgData name="Serena Shi" userId="3639e786-f11f-4e1d-b435-308c41a4e053" providerId="ADAL" clId="{704A293E-8E4F-144B-A434-111D8152FA5D}" dt="2023-12-07T20:14:54.492" v="559" actId="478"/>
          <ac:grpSpMkLst>
            <pc:docMk/>
            <pc:sldMk cId="3942716630" sldId="324"/>
            <ac:grpSpMk id="49" creationId="{8CA63DB7-3DB6-07D4-B1E3-704FA4935E1A}"/>
          </ac:grpSpMkLst>
        </pc:grpChg>
        <pc:grpChg chg="add mod">
          <ac:chgData name="Serena Shi" userId="3639e786-f11f-4e1d-b435-308c41a4e053" providerId="ADAL" clId="{704A293E-8E4F-144B-A434-111D8152FA5D}" dt="2023-12-07T20:12:45.263" v="558" actId="1076"/>
          <ac:grpSpMkLst>
            <pc:docMk/>
            <pc:sldMk cId="3942716630" sldId="324"/>
            <ac:grpSpMk id="53" creationId="{7C7C4D38-E918-2452-783F-118DFC526888}"/>
          </ac:grpSpMkLst>
        </pc:grpChg>
        <pc:grpChg chg="add mod">
          <ac:chgData name="Serena Shi" userId="3639e786-f11f-4e1d-b435-308c41a4e053" providerId="ADAL" clId="{704A293E-8E4F-144B-A434-111D8152FA5D}" dt="2023-12-07T20:15:07.114" v="563" actId="1076"/>
          <ac:grpSpMkLst>
            <pc:docMk/>
            <pc:sldMk cId="3942716630" sldId="324"/>
            <ac:grpSpMk id="57" creationId="{1F73DE60-D84C-CF83-4603-AAD544E5D428}"/>
          </ac:grpSpMkLst>
        </pc:grpChg>
        <pc:picChg chg="add mod">
          <ac:chgData name="Serena Shi" userId="3639e786-f11f-4e1d-b435-308c41a4e053" providerId="ADAL" clId="{704A293E-8E4F-144B-A434-111D8152FA5D}" dt="2023-12-07T20:12:18.114" v="551" actId="1076"/>
          <ac:picMkLst>
            <pc:docMk/>
            <pc:sldMk cId="3942716630" sldId="324"/>
            <ac:picMk id="5" creationId="{E70BE5D8-47D6-A77D-5D9F-4D40DA5B7228}"/>
          </ac:picMkLst>
        </pc:picChg>
        <pc:picChg chg="add mod">
          <ac:chgData name="Serena Shi" userId="3639e786-f11f-4e1d-b435-308c41a4e053" providerId="ADAL" clId="{704A293E-8E4F-144B-A434-111D8152FA5D}" dt="2023-12-06T19:52:40.489" v="207" actId="1076"/>
          <ac:picMkLst>
            <pc:docMk/>
            <pc:sldMk cId="3942716630" sldId="324"/>
            <ac:picMk id="6" creationId="{C21B313D-7655-A550-9EB9-B89FCB289809}"/>
          </ac:picMkLst>
        </pc:picChg>
      </pc:sldChg>
      <pc:sldChg chg="delSp modSp mod modShow">
        <pc:chgData name="Serena Shi" userId="3639e786-f11f-4e1d-b435-308c41a4e053" providerId="ADAL" clId="{704A293E-8E4F-144B-A434-111D8152FA5D}" dt="2023-12-08T00:12:57.875" v="609" actId="729"/>
        <pc:sldMkLst>
          <pc:docMk/>
          <pc:sldMk cId="2982519754" sldId="325"/>
        </pc:sldMkLst>
        <pc:spChg chg="del mod">
          <ac:chgData name="Serena Shi" userId="3639e786-f11f-4e1d-b435-308c41a4e053" providerId="ADAL" clId="{704A293E-8E4F-144B-A434-111D8152FA5D}" dt="2023-12-06T20:24:25.444" v="522" actId="478"/>
          <ac:spMkLst>
            <pc:docMk/>
            <pc:sldMk cId="2982519754" sldId="325"/>
            <ac:spMk id="16" creationId="{631C44FC-86B5-EBF7-8B1A-227A6CBF211A}"/>
          </ac:spMkLst>
        </pc:spChg>
        <pc:picChg chg="del">
          <ac:chgData name="Serena Shi" userId="3639e786-f11f-4e1d-b435-308c41a4e053" providerId="ADAL" clId="{704A293E-8E4F-144B-A434-111D8152FA5D}" dt="2023-12-06T19:36:58.879" v="14" actId="478"/>
          <ac:picMkLst>
            <pc:docMk/>
            <pc:sldMk cId="2982519754" sldId="325"/>
            <ac:picMk id="5" creationId="{D8D2D416-9A7B-12F6-DD23-9D183BC6811D}"/>
          </ac:picMkLst>
        </pc:picChg>
        <pc:picChg chg="del">
          <ac:chgData name="Serena Shi" userId="3639e786-f11f-4e1d-b435-308c41a4e053" providerId="ADAL" clId="{704A293E-8E4F-144B-A434-111D8152FA5D}" dt="2023-12-06T19:37:01.608" v="16" actId="478"/>
          <ac:picMkLst>
            <pc:docMk/>
            <pc:sldMk cId="2982519754" sldId="325"/>
            <ac:picMk id="7" creationId="{DDFB798E-1FF3-6985-F9F8-2BD99DCA47E8}"/>
          </ac:picMkLst>
        </pc:picChg>
        <pc:picChg chg="mod">
          <ac:chgData name="Serena Shi" userId="3639e786-f11f-4e1d-b435-308c41a4e053" providerId="ADAL" clId="{704A293E-8E4F-144B-A434-111D8152FA5D}" dt="2023-12-06T20:35:47.081" v="526" actId="1076"/>
          <ac:picMkLst>
            <pc:docMk/>
            <pc:sldMk cId="2982519754" sldId="325"/>
            <ac:picMk id="8" creationId="{A93759F4-B1E8-3DB3-11FB-1FE654484917}"/>
          </ac:picMkLst>
        </pc:picChg>
        <pc:picChg chg="del">
          <ac:chgData name="Serena Shi" userId="3639e786-f11f-4e1d-b435-308c41a4e053" providerId="ADAL" clId="{704A293E-8E4F-144B-A434-111D8152FA5D}" dt="2023-12-06T19:37:00.328" v="15" actId="478"/>
          <ac:picMkLst>
            <pc:docMk/>
            <pc:sldMk cId="2982519754" sldId="325"/>
            <ac:picMk id="9" creationId="{6105BB65-E0F1-1BD6-38E4-C86B725361C2}"/>
          </ac:picMkLst>
        </pc:picChg>
        <pc:picChg chg="del mod">
          <ac:chgData name="Serena Shi" userId="3639e786-f11f-4e1d-b435-308c41a4e053" providerId="ADAL" clId="{704A293E-8E4F-144B-A434-111D8152FA5D}" dt="2023-12-06T20:23:55.553" v="516" actId="478"/>
          <ac:picMkLst>
            <pc:docMk/>
            <pc:sldMk cId="2982519754" sldId="325"/>
            <ac:picMk id="10" creationId="{5C7B5AAE-268F-6C4D-75F5-8D96A7EBB6A9}"/>
          </ac:picMkLst>
        </pc:picChg>
        <pc:picChg chg="mod">
          <ac:chgData name="Serena Shi" userId="3639e786-f11f-4e1d-b435-308c41a4e053" providerId="ADAL" clId="{704A293E-8E4F-144B-A434-111D8152FA5D}" dt="2023-12-06T20:35:57.651" v="534" actId="14100"/>
          <ac:picMkLst>
            <pc:docMk/>
            <pc:sldMk cId="2982519754" sldId="325"/>
            <ac:picMk id="11" creationId="{EA1687B2-EA77-44AD-CC5F-CFE2363F51DE}"/>
          </ac:picMkLst>
        </pc:picChg>
        <pc:picChg chg="del">
          <ac:chgData name="Serena Shi" userId="3639e786-f11f-4e1d-b435-308c41a4e053" providerId="ADAL" clId="{704A293E-8E4F-144B-A434-111D8152FA5D}" dt="2023-12-06T20:05:35.854" v="333" actId="478"/>
          <ac:picMkLst>
            <pc:docMk/>
            <pc:sldMk cId="2982519754" sldId="325"/>
            <ac:picMk id="12" creationId="{0C05F6D8-B77F-2F8D-8C9A-3305A556D2E0}"/>
          </ac:picMkLst>
        </pc:picChg>
        <pc:picChg chg="mod">
          <ac:chgData name="Serena Shi" userId="3639e786-f11f-4e1d-b435-308c41a4e053" providerId="ADAL" clId="{704A293E-8E4F-144B-A434-111D8152FA5D}" dt="2023-12-06T20:35:59.339" v="535" actId="1076"/>
          <ac:picMkLst>
            <pc:docMk/>
            <pc:sldMk cId="2982519754" sldId="325"/>
            <ac:picMk id="13" creationId="{F2E57421-9B92-DBB2-AD3E-8E0817CED134}"/>
          </ac:picMkLst>
        </pc:picChg>
      </pc:sldChg>
      <pc:sldChg chg="addSp delSp modSp new del mod">
        <pc:chgData name="Serena Shi" userId="3639e786-f11f-4e1d-b435-308c41a4e053" providerId="ADAL" clId="{704A293E-8E4F-144B-A434-111D8152FA5D}" dt="2023-12-06T20:36:30.948" v="536" actId="2696"/>
        <pc:sldMkLst>
          <pc:docMk/>
          <pc:sldMk cId="2903956612" sldId="327"/>
        </pc:sldMkLst>
        <pc:spChg chg="del">
          <ac:chgData name="Serena Shi" userId="3639e786-f11f-4e1d-b435-308c41a4e053" providerId="ADAL" clId="{704A293E-8E4F-144B-A434-111D8152FA5D}" dt="2023-12-06T19:38:26.562" v="21" actId="478"/>
          <ac:spMkLst>
            <pc:docMk/>
            <pc:sldMk cId="2903956612" sldId="327"/>
            <ac:spMk id="2" creationId="{E1701BB6-FEBD-9E61-8849-397D03DAB859}"/>
          </ac:spMkLst>
        </pc:spChg>
        <pc:spChg chg="del">
          <ac:chgData name="Serena Shi" userId="3639e786-f11f-4e1d-b435-308c41a4e053" providerId="ADAL" clId="{704A293E-8E4F-144B-A434-111D8152FA5D}" dt="2023-12-06T19:38:25.072" v="20" actId="478"/>
          <ac:spMkLst>
            <pc:docMk/>
            <pc:sldMk cId="2903956612" sldId="327"/>
            <ac:spMk id="3" creationId="{23084070-F5D8-6616-CB66-14CD27A02704}"/>
          </ac:spMkLst>
        </pc:spChg>
        <pc:spChg chg="add del mod">
          <ac:chgData name="Serena Shi" userId="3639e786-f11f-4e1d-b435-308c41a4e053" providerId="ADAL" clId="{704A293E-8E4F-144B-A434-111D8152FA5D}" dt="2023-12-06T19:39:21.109" v="38"/>
          <ac:spMkLst>
            <pc:docMk/>
            <pc:sldMk cId="2903956612" sldId="327"/>
            <ac:spMk id="5" creationId="{4CD2F9D4-A7E9-C519-BB96-82C2ADC5A707}"/>
          </ac:spMkLst>
        </pc:spChg>
        <pc:picChg chg="add mod">
          <ac:chgData name="Serena Shi" userId="3639e786-f11f-4e1d-b435-308c41a4e053" providerId="ADAL" clId="{704A293E-8E4F-144B-A434-111D8152FA5D}" dt="2023-12-06T19:39:54.036" v="43" actId="1076"/>
          <ac:picMkLst>
            <pc:docMk/>
            <pc:sldMk cId="2903956612" sldId="327"/>
            <ac:picMk id="7" creationId="{766C4165-BCB5-62C2-A0B8-12C86DB5F2AF}"/>
          </ac:picMkLst>
        </pc:picChg>
      </pc:sldChg>
      <pc:sldChg chg="addSp modSp new mod">
        <pc:chgData name="Serena Shi" userId="3639e786-f11f-4e1d-b435-308c41a4e053" providerId="ADAL" clId="{704A293E-8E4F-144B-A434-111D8152FA5D}" dt="2023-12-06T19:40:30.535" v="47" actId="14100"/>
        <pc:sldMkLst>
          <pc:docMk/>
          <pc:sldMk cId="2094757303" sldId="328"/>
        </pc:sldMkLst>
        <pc:picChg chg="add mod">
          <ac:chgData name="Serena Shi" userId="3639e786-f11f-4e1d-b435-308c41a4e053" providerId="ADAL" clId="{704A293E-8E4F-144B-A434-111D8152FA5D}" dt="2023-12-06T19:40:30.535" v="47" actId="14100"/>
          <ac:picMkLst>
            <pc:docMk/>
            <pc:sldMk cId="2094757303" sldId="328"/>
            <ac:picMk id="6" creationId="{73D76E67-4B62-0D0F-729B-03FDA2D47C29}"/>
          </ac:picMkLst>
        </pc:picChg>
      </pc:sldChg>
      <pc:sldChg chg="addSp modSp new mod modShow">
        <pc:chgData name="Serena Shi" userId="3639e786-f11f-4e1d-b435-308c41a4e053" providerId="ADAL" clId="{704A293E-8E4F-144B-A434-111D8152FA5D}" dt="2023-12-06T19:55:43.410" v="217" actId="729"/>
        <pc:sldMkLst>
          <pc:docMk/>
          <pc:sldMk cId="1477015974" sldId="329"/>
        </pc:sldMkLst>
        <pc:picChg chg="add mod">
          <ac:chgData name="Serena Shi" userId="3639e786-f11f-4e1d-b435-308c41a4e053" providerId="ADAL" clId="{704A293E-8E4F-144B-A434-111D8152FA5D}" dt="2023-12-06T19:40:50.302" v="51" actId="962"/>
          <ac:picMkLst>
            <pc:docMk/>
            <pc:sldMk cId="1477015974" sldId="329"/>
            <ac:picMk id="6" creationId="{A1B0406C-A07E-930C-23EE-B4B533913BFE}"/>
          </ac:picMkLst>
        </pc:picChg>
      </pc:sldChg>
      <pc:sldChg chg="addSp delSp modSp mod ord modNotesTx">
        <pc:chgData name="Serena Shi" userId="3639e786-f11f-4e1d-b435-308c41a4e053" providerId="ADAL" clId="{704A293E-8E4F-144B-A434-111D8152FA5D}" dt="2023-12-08T00:29:46.414" v="781"/>
        <pc:sldMkLst>
          <pc:docMk/>
          <pc:sldMk cId="3040852889" sldId="330"/>
        </pc:sldMkLst>
        <pc:spChg chg="del mod">
          <ac:chgData name="Serena Shi" userId="3639e786-f11f-4e1d-b435-308c41a4e053" providerId="ADAL" clId="{704A293E-8E4F-144B-A434-111D8152FA5D}" dt="2023-12-08T00:09:54.284" v="569"/>
          <ac:spMkLst>
            <pc:docMk/>
            <pc:sldMk cId="3040852889" sldId="330"/>
            <ac:spMk id="5" creationId="{99CDEBA7-3BF1-2C4C-9C56-A33890B47DDD}"/>
          </ac:spMkLst>
        </pc:spChg>
        <pc:spChg chg="add mod">
          <ac:chgData name="Serena Shi" userId="3639e786-f11f-4e1d-b435-308c41a4e053" providerId="ADAL" clId="{704A293E-8E4F-144B-A434-111D8152FA5D}" dt="2023-12-08T00:17:11.393" v="617" actId="692"/>
          <ac:spMkLst>
            <pc:docMk/>
            <pc:sldMk cId="3040852889" sldId="330"/>
            <ac:spMk id="9" creationId="{3A1FF805-C7E3-92EA-4D7A-459775F13E6C}"/>
          </ac:spMkLst>
        </pc:spChg>
        <pc:spChg chg="add mod">
          <ac:chgData name="Serena Shi" userId="3639e786-f11f-4e1d-b435-308c41a4e053" providerId="ADAL" clId="{704A293E-8E4F-144B-A434-111D8152FA5D}" dt="2023-12-08T00:17:28.135" v="619" actId="1076"/>
          <ac:spMkLst>
            <pc:docMk/>
            <pc:sldMk cId="3040852889" sldId="330"/>
            <ac:spMk id="10" creationId="{F97059FE-5228-A6B2-1B99-33221B9CC9D6}"/>
          </ac:spMkLst>
        </pc:spChg>
        <pc:spChg chg="add del mod">
          <ac:chgData name="Serena Shi" userId="3639e786-f11f-4e1d-b435-308c41a4e053" providerId="ADAL" clId="{704A293E-8E4F-144B-A434-111D8152FA5D}" dt="2023-12-08T00:19:03.908" v="630" actId="478"/>
          <ac:spMkLst>
            <pc:docMk/>
            <pc:sldMk cId="3040852889" sldId="330"/>
            <ac:spMk id="13" creationId="{AACC6341-4A22-2275-9A20-61741B8D0337}"/>
          </ac:spMkLst>
        </pc:spChg>
        <pc:spChg chg="add del mod">
          <ac:chgData name="Serena Shi" userId="3639e786-f11f-4e1d-b435-308c41a4e053" providerId="ADAL" clId="{704A293E-8E4F-144B-A434-111D8152FA5D}" dt="2023-12-08T00:19:21.733" v="632" actId="478"/>
          <ac:spMkLst>
            <pc:docMk/>
            <pc:sldMk cId="3040852889" sldId="330"/>
            <ac:spMk id="14" creationId="{1915C3B0-41E5-D697-9E89-697377E50EB9}"/>
          </ac:spMkLst>
        </pc:spChg>
        <pc:spChg chg="add mod">
          <ac:chgData name="Serena Shi" userId="3639e786-f11f-4e1d-b435-308c41a4e053" providerId="ADAL" clId="{704A293E-8E4F-144B-A434-111D8152FA5D}" dt="2023-12-08T00:23:19.084" v="774" actId="1076"/>
          <ac:spMkLst>
            <pc:docMk/>
            <pc:sldMk cId="3040852889" sldId="330"/>
            <ac:spMk id="15" creationId="{7E1A7B3A-D4F3-3DD8-7B97-7A0FFB366907}"/>
          </ac:spMkLst>
        </pc:spChg>
        <pc:picChg chg="add del mod">
          <ac:chgData name="Serena Shi" userId="3639e786-f11f-4e1d-b435-308c41a4e053" providerId="ADAL" clId="{704A293E-8E4F-144B-A434-111D8152FA5D}" dt="2023-12-08T00:16:23.808" v="613" actId="478"/>
          <ac:picMkLst>
            <pc:docMk/>
            <pc:sldMk cId="3040852889" sldId="330"/>
            <ac:picMk id="2" creationId="{DC796E33-092C-F62F-D0E2-FB51613FDE3E}"/>
          </ac:picMkLst>
        </pc:picChg>
        <pc:picChg chg="add del mod">
          <ac:chgData name="Serena Shi" userId="3639e786-f11f-4e1d-b435-308c41a4e053" providerId="ADAL" clId="{704A293E-8E4F-144B-A434-111D8152FA5D}" dt="2023-12-08T00:16:24.937" v="614" actId="478"/>
          <ac:picMkLst>
            <pc:docMk/>
            <pc:sldMk cId="3040852889" sldId="330"/>
            <ac:picMk id="4" creationId="{065A1441-8BD9-CE62-450D-5B16778E7009}"/>
          </ac:picMkLst>
        </pc:picChg>
        <pc:picChg chg="add mod">
          <ac:chgData name="Serena Shi" userId="3639e786-f11f-4e1d-b435-308c41a4e053" providerId="ADAL" clId="{704A293E-8E4F-144B-A434-111D8152FA5D}" dt="2023-12-06T19:41:05.609" v="54" actId="962"/>
          <ac:picMkLst>
            <pc:docMk/>
            <pc:sldMk cId="3040852889" sldId="330"/>
            <ac:picMk id="6" creationId="{AF559F07-E1D8-3DB3-1407-ABC11AC4B717}"/>
          </ac:picMkLst>
        </pc:picChg>
        <pc:cxnChg chg="add mod">
          <ac:chgData name="Serena Shi" userId="3639e786-f11f-4e1d-b435-308c41a4e053" providerId="ADAL" clId="{704A293E-8E4F-144B-A434-111D8152FA5D}" dt="2023-12-08T00:23:24.566" v="775" actId="14100"/>
          <ac:cxnSpMkLst>
            <pc:docMk/>
            <pc:sldMk cId="3040852889" sldId="330"/>
            <ac:cxnSpMk id="12" creationId="{3D6582C6-3376-A542-E504-8562781C2EBC}"/>
          </ac:cxnSpMkLst>
        </pc:cxnChg>
        <pc:cxnChg chg="add mod">
          <ac:chgData name="Serena Shi" userId="3639e786-f11f-4e1d-b435-308c41a4e053" providerId="ADAL" clId="{704A293E-8E4F-144B-A434-111D8152FA5D}" dt="2023-12-08T00:23:06.151" v="771" actId="14100"/>
          <ac:cxnSpMkLst>
            <pc:docMk/>
            <pc:sldMk cId="3040852889" sldId="330"/>
            <ac:cxnSpMk id="16" creationId="{C2523DC2-FB56-C542-F12B-D2EE4794794E}"/>
          </ac:cxnSpMkLst>
        </pc:cxnChg>
      </pc:sldChg>
      <pc:sldChg chg="addSp modSp">
        <pc:chgData name="Serena Shi" userId="3639e786-f11f-4e1d-b435-308c41a4e053" providerId="ADAL" clId="{704A293E-8E4F-144B-A434-111D8152FA5D}" dt="2023-12-06T19:41:42.802" v="56" actId="14100"/>
        <pc:sldMkLst>
          <pc:docMk/>
          <pc:sldMk cId="948410504" sldId="331"/>
        </pc:sldMkLst>
        <pc:picChg chg="add mod">
          <ac:chgData name="Serena Shi" userId="3639e786-f11f-4e1d-b435-308c41a4e053" providerId="ADAL" clId="{704A293E-8E4F-144B-A434-111D8152FA5D}" dt="2023-12-06T19:41:42.802" v="56" actId="14100"/>
          <ac:picMkLst>
            <pc:docMk/>
            <pc:sldMk cId="948410504" sldId="331"/>
            <ac:picMk id="1026" creationId="{7F0A5999-B634-5764-015E-158055D2017B}"/>
          </ac:picMkLst>
        </pc:picChg>
      </pc:sldChg>
      <pc:sldChg chg="addSp delSp modSp new mod ord modShow modNotesTx">
        <pc:chgData name="Serena Shi" userId="3639e786-f11f-4e1d-b435-308c41a4e053" providerId="ADAL" clId="{704A293E-8E4F-144B-A434-111D8152FA5D}" dt="2023-12-08T21:07:00.727" v="827" actId="729"/>
        <pc:sldMkLst>
          <pc:docMk/>
          <pc:sldMk cId="1729623834" sldId="332"/>
        </pc:sldMkLst>
        <pc:spChg chg="add mod">
          <ac:chgData name="Serena Shi" userId="3639e786-f11f-4e1d-b435-308c41a4e053" providerId="ADAL" clId="{704A293E-8E4F-144B-A434-111D8152FA5D}" dt="2023-12-08T00:32:03.953" v="807" actId="1076"/>
          <ac:spMkLst>
            <pc:docMk/>
            <pc:sldMk cId="1729623834" sldId="332"/>
            <ac:spMk id="7" creationId="{E62D0385-C241-35AF-C8FA-E62CB7ED415E}"/>
          </ac:spMkLst>
        </pc:spChg>
        <pc:spChg chg="add mod">
          <ac:chgData name="Serena Shi" userId="3639e786-f11f-4e1d-b435-308c41a4e053" providerId="ADAL" clId="{704A293E-8E4F-144B-A434-111D8152FA5D}" dt="2023-12-08T00:31:30.424" v="800" actId="1076"/>
          <ac:spMkLst>
            <pc:docMk/>
            <pc:sldMk cId="1729623834" sldId="332"/>
            <ac:spMk id="8" creationId="{B321D1E6-C245-960C-519F-73974A145734}"/>
          </ac:spMkLst>
        </pc:spChg>
        <pc:spChg chg="add mod">
          <ac:chgData name="Serena Shi" userId="3639e786-f11f-4e1d-b435-308c41a4e053" providerId="ADAL" clId="{704A293E-8E4F-144B-A434-111D8152FA5D}" dt="2023-12-08T00:31:33.854" v="801" actId="14100"/>
          <ac:spMkLst>
            <pc:docMk/>
            <pc:sldMk cId="1729623834" sldId="332"/>
            <ac:spMk id="9" creationId="{FE6B7603-9BC6-353F-B48A-9EBD79F47A42}"/>
          </ac:spMkLst>
        </pc:spChg>
        <pc:spChg chg="add mod">
          <ac:chgData name="Serena Shi" userId="3639e786-f11f-4e1d-b435-308c41a4e053" providerId="ADAL" clId="{704A293E-8E4F-144B-A434-111D8152FA5D}" dt="2023-12-08T00:31:21.560" v="798" actId="1076"/>
          <ac:spMkLst>
            <pc:docMk/>
            <pc:sldMk cId="1729623834" sldId="332"/>
            <ac:spMk id="10" creationId="{760B9C79-A830-84A7-4870-46835916AFEF}"/>
          </ac:spMkLst>
        </pc:spChg>
        <pc:spChg chg="add del mod">
          <ac:chgData name="Serena Shi" userId="3639e786-f11f-4e1d-b435-308c41a4e053" providerId="ADAL" clId="{704A293E-8E4F-144B-A434-111D8152FA5D}" dt="2023-12-06T20:17:27.709" v="444" actId="478"/>
          <ac:spMkLst>
            <pc:docMk/>
            <pc:sldMk cId="1729623834" sldId="332"/>
            <ac:spMk id="11" creationId="{86B98671-5C82-EFA5-FAF2-98A4D7299DC7}"/>
          </ac:spMkLst>
        </pc:spChg>
        <pc:grpChg chg="mod">
          <ac:chgData name="Serena Shi" userId="3639e786-f11f-4e1d-b435-308c41a4e053" providerId="ADAL" clId="{704A293E-8E4F-144B-A434-111D8152FA5D}" dt="2023-12-08T00:31:38.368" v="802" actId="1076"/>
          <ac:grpSpMkLst>
            <pc:docMk/>
            <pc:sldMk cId="1729623834" sldId="332"/>
            <ac:grpSpMk id="12" creationId="{BDD116D1-E90D-274E-BFF5-97D411FA1BDE}"/>
          </ac:grpSpMkLst>
        </pc:grpChg>
        <pc:picChg chg="add mod">
          <ac:chgData name="Serena Shi" userId="3639e786-f11f-4e1d-b435-308c41a4e053" providerId="ADAL" clId="{704A293E-8E4F-144B-A434-111D8152FA5D}" dt="2023-12-08T00:31:15.469" v="797" actId="1076"/>
          <ac:picMkLst>
            <pc:docMk/>
            <pc:sldMk cId="1729623834" sldId="332"/>
            <ac:picMk id="6" creationId="{67F480B5-7210-D4B8-95DD-65FFA77B74C5}"/>
          </ac:picMkLst>
        </pc:picChg>
        <pc:picChg chg="mod">
          <ac:chgData name="Serena Shi" userId="3639e786-f11f-4e1d-b435-308c41a4e053" providerId="ADAL" clId="{704A293E-8E4F-144B-A434-111D8152FA5D}" dt="2023-12-08T00:57:12.880" v="816" actId="14100"/>
          <ac:picMkLst>
            <pc:docMk/>
            <pc:sldMk cId="1729623834" sldId="332"/>
            <ac:picMk id="16" creationId="{54A19125-1057-3D47-A528-E77E753543B2}"/>
          </ac:picMkLst>
        </pc:picChg>
        <pc:picChg chg="add mod">
          <ac:chgData name="Serena Shi" userId="3639e786-f11f-4e1d-b435-308c41a4e053" providerId="ADAL" clId="{704A293E-8E4F-144B-A434-111D8152FA5D}" dt="2023-12-08T00:57:27.755" v="821" actId="1036"/>
          <ac:picMkLst>
            <pc:docMk/>
            <pc:sldMk cId="1729623834" sldId="332"/>
            <ac:picMk id="19" creationId="{6C6E08C2-92D0-074E-DEA0-1B8AC482D0B1}"/>
          </ac:picMkLst>
        </pc:picChg>
        <pc:picChg chg="add mod">
          <ac:chgData name="Serena Shi" userId="3639e786-f11f-4e1d-b435-308c41a4e053" providerId="ADAL" clId="{704A293E-8E4F-144B-A434-111D8152FA5D}" dt="2023-12-08T00:31:40.681" v="803" actId="1076"/>
          <ac:picMkLst>
            <pc:docMk/>
            <pc:sldMk cId="1729623834" sldId="332"/>
            <ac:picMk id="21" creationId="{34998D24-141C-4E4D-5B31-CFCE47249B26}"/>
          </ac:picMkLst>
        </pc:picChg>
      </pc:sldChg>
      <pc:sldChg chg="addSp delSp modSp new del mod">
        <pc:chgData name="Serena Shi" userId="3639e786-f11f-4e1d-b435-308c41a4e053" providerId="ADAL" clId="{704A293E-8E4F-144B-A434-111D8152FA5D}" dt="2023-12-07T18:27:37.469" v="537" actId="2696"/>
        <pc:sldMkLst>
          <pc:docMk/>
          <pc:sldMk cId="2978949416" sldId="333"/>
        </pc:sldMkLst>
        <pc:spChg chg="del">
          <ac:chgData name="Serena Shi" userId="3639e786-f11f-4e1d-b435-308c41a4e053" providerId="ADAL" clId="{704A293E-8E4F-144B-A434-111D8152FA5D}" dt="2023-12-06T19:43:11.942" v="63" actId="478"/>
          <ac:spMkLst>
            <pc:docMk/>
            <pc:sldMk cId="2978949416" sldId="333"/>
            <ac:spMk id="2" creationId="{2D3DCA5C-97AC-7DCA-E455-F8230D6D5D30}"/>
          </ac:spMkLst>
        </pc:spChg>
        <pc:spChg chg="del">
          <ac:chgData name="Serena Shi" userId="3639e786-f11f-4e1d-b435-308c41a4e053" providerId="ADAL" clId="{704A293E-8E4F-144B-A434-111D8152FA5D}" dt="2023-12-06T19:43:09.875" v="62" actId="478"/>
          <ac:spMkLst>
            <pc:docMk/>
            <pc:sldMk cId="2978949416" sldId="333"/>
            <ac:spMk id="3" creationId="{68508DDE-11F2-05CC-87D8-26670C0B9F4E}"/>
          </ac:spMkLst>
        </pc:spChg>
        <pc:picChg chg="add del mod">
          <ac:chgData name="Serena Shi" userId="3639e786-f11f-4e1d-b435-308c41a4e053" providerId="ADAL" clId="{704A293E-8E4F-144B-A434-111D8152FA5D}" dt="2023-12-06T20:00:39.929" v="243" actId="478"/>
          <ac:picMkLst>
            <pc:docMk/>
            <pc:sldMk cId="2978949416" sldId="333"/>
            <ac:picMk id="2050" creationId="{494B7406-D89C-8C4A-9153-F9ABE278D5D6}"/>
          </ac:picMkLst>
        </pc:picChg>
      </pc:sldChg>
      <pc:sldChg chg="addSp modSp new del mod modShow">
        <pc:chgData name="Serena Shi" userId="3639e786-f11f-4e1d-b435-308c41a4e053" providerId="ADAL" clId="{704A293E-8E4F-144B-A434-111D8152FA5D}" dt="2023-12-08T01:04:53.033" v="824" actId="2696"/>
        <pc:sldMkLst>
          <pc:docMk/>
          <pc:sldMk cId="367704382" sldId="334"/>
        </pc:sldMkLst>
        <pc:picChg chg="add mod">
          <ac:chgData name="Serena Shi" userId="3639e786-f11f-4e1d-b435-308c41a4e053" providerId="ADAL" clId="{704A293E-8E4F-144B-A434-111D8152FA5D}" dt="2023-12-06T20:00:43.519" v="244" actId="1076"/>
          <ac:picMkLst>
            <pc:docMk/>
            <pc:sldMk cId="367704382" sldId="334"/>
            <ac:picMk id="3074" creationId="{91D2DBC8-0CD4-B969-5568-3874E9AABFAB}"/>
          </ac:picMkLst>
        </pc:picChg>
      </pc:sldChg>
      <pc:sldChg chg="addSp delSp modSp new mod">
        <pc:chgData name="Serena Shi" userId="3639e786-f11f-4e1d-b435-308c41a4e053" providerId="ADAL" clId="{704A293E-8E4F-144B-A434-111D8152FA5D}" dt="2023-12-06T20:15:30.917" v="428" actId="1076"/>
        <pc:sldMkLst>
          <pc:docMk/>
          <pc:sldMk cId="350607174" sldId="335"/>
        </pc:sldMkLst>
        <pc:spChg chg="del">
          <ac:chgData name="Serena Shi" userId="3639e786-f11f-4e1d-b435-308c41a4e053" providerId="ADAL" clId="{704A293E-8E4F-144B-A434-111D8152FA5D}" dt="2023-12-06T19:52:29.201" v="205" actId="478"/>
          <ac:spMkLst>
            <pc:docMk/>
            <pc:sldMk cId="350607174" sldId="335"/>
            <ac:spMk id="2" creationId="{511E77DB-D6F0-D5C2-4831-BD375C88CE46}"/>
          </ac:spMkLst>
        </pc:spChg>
        <pc:spChg chg="del">
          <ac:chgData name="Serena Shi" userId="3639e786-f11f-4e1d-b435-308c41a4e053" providerId="ADAL" clId="{704A293E-8E4F-144B-A434-111D8152FA5D}" dt="2023-12-06T19:52:27.437" v="204" actId="478"/>
          <ac:spMkLst>
            <pc:docMk/>
            <pc:sldMk cId="350607174" sldId="335"/>
            <ac:spMk id="3" creationId="{2F03F328-AEDF-301A-E330-D13C661AEC53}"/>
          </ac:spMkLst>
        </pc:spChg>
        <pc:spChg chg="del">
          <ac:chgData name="Serena Shi" userId="3639e786-f11f-4e1d-b435-308c41a4e053" providerId="ADAL" clId="{704A293E-8E4F-144B-A434-111D8152FA5D}" dt="2023-12-06T19:52:31.172" v="206" actId="478"/>
          <ac:spMkLst>
            <pc:docMk/>
            <pc:sldMk cId="350607174" sldId="335"/>
            <ac:spMk id="4" creationId="{438B0198-CE44-7F63-0D5E-9BA7E0D81C12}"/>
          </ac:spMkLst>
        </pc:spChg>
        <pc:spChg chg="add mod">
          <ac:chgData name="Serena Shi" userId="3639e786-f11f-4e1d-b435-308c41a4e053" providerId="ADAL" clId="{704A293E-8E4F-144B-A434-111D8152FA5D}" dt="2023-12-06T20:15:30.917" v="428" actId="1076"/>
          <ac:spMkLst>
            <pc:docMk/>
            <pc:sldMk cId="350607174" sldId="335"/>
            <ac:spMk id="6" creationId="{3225795B-0FA5-9FC7-8AC1-2FB7DD69BFA3}"/>
          </ac:spMkLst>
        </pc:spChg>
        <pc:spChg chg="add mod">
          <ac:chgData name="Serena Shi" userId="3639e786-f11f-4e1d-b435-308c41a4e053" providerId="ADAL" clId="{704A293E-8E4F-144B-A434-111D8152FA5D}" dt="2023-12-06T20:05:26.546" v="332" actId="1076"/>
          <ac:spMkLst>
            <pc:docMk/>
            <pc:sldMk cId="350607174" sldId="335"/>
            <ac:spMk id="7" creationId="{18EE20B2-3E6B-3712-1C2A-A2B8A6368D9F}"/>
          </ac:spMkLst>
        </pc:spChg>
        <pc:spChg chg="add mod">
          <ac:chgData name="Serena Shi" userId="3639e786-f11f-4e1d-b435-308c41a4e053" providerId="ADAL" clId="{704A293E-8E4F-144B-A434-111D8152FA5D}" dt="2023-12-06T20:12:03.771" v="382" actId="1076"/>
          <ac:spMkLst>
            <pc:docMk/>
            <pc:sldMk cId="350607174" sldId="335"/>
            <ac:spMk id="13" creationId="{3CC05E35-A8D4-AEC4-E0CA-80E273CED7E0}"/>
          </ac:spMkLst>
        </pc:spChg>
        <pc:spChg chg="add mod">
          <ac:chgData name="Serena Shi" userId="3639e786-f11f-4e1d-b435-308c41a4e053" providerId="ADAL" clId="{704A293E-8E4F-144B-A434-111D8152FA5D}" dt="2023-12-06T20:13:05.795" v="416" actId="1076"/>
          <ac:spMkLst>
            <pc:docMk/>
            <pc:sldMk cId="350607174" sldId="335"/>
            <ac:spMk id="14" creationId="{9074A64F-EE19-38F9-0996-781677054DED}"/>
          </ac:spMkLst>
        </pc:spChg>
        <pc:spChg chg="add del">
          <ac:chgData name="Serena Shi" userId="3639e786-f11f-4e1d-b435-308c41a4e053" providerId="ADAL" clId="{704A293E-8E4F-144B-A434-111D8152FA5D}" dt="2023-12-06T20:13:31.626" v="418" actId="478"/>
          <ac:spMkLst>
            <pc:docMk/>
            <pc:sldMk cId="350607174" sldId="335"/>
            <ac:spMk id="15" creationId="{D515D576-C6D7-2DFD-368D-401AEF2B1D56}"/>
          </ac:spMkLst>
        </pc:spChg>
        <pc:spChg chg="add mod">
          <ac:chgData name="Serena Shi" userId="3639e786-f11f-4e1d-b435-308c41a4e053" providerId="ADAL" clId="{704A293E-8E4F-144B-A434-111D8152FA5D}" dt="2023-12-06T20:14:18.943" v="423" actId="14100"/>
          <ac:spMkLst>
            <pc:docMk/>
            <pc:sldMk cId="350607174" sldId="335"/>
            <ac:spMk id="16" creationId="{8A9E72FD-7C54-09A1-1DB6-8EE29734E14D}"/>
          </ac:spMkLst>
        </pc:spChg>
        <pc:spChg chg="add mod">
          <ac:chgData name="Serena Shi" userId="3639e786-f11f-4e1d-b435-308c41a4e053" providerId="ADAL" clId="{704A293E-8E4F-144B-A434-111D8152FA5D}" dt="2023-12-06T20:14:55.161" v="427" actId="1076"/>
          <ac:spMkLst>
            <pc:docMk/>
            <pc:sldMk cId="350607174" sldId="335"/>
            <ac:spMk id="17" creationId="{1B1C08AC-3DB8-94B4-0317-9D7E2FEFEAEF}"/>
          </ac:spMkLst>
        </pc:spChg>
        <pc:picChg chg="add mod">
          <ac:chgData name="Serena Shi" userId="3639e786-f11f-4e1d-b435-308c41a4e053" providerId="ADAL" clId="{704A293E-8E4F-144B-A434-111D8152FA5D}" dt="2023-12-06T20:10:47.648" v="344" actId="14100"/>
          <ac:picMkLst>
            <pc:docMk/>
            <pc:sldMk cId="350607174" sldId="335"/>
            <ac:picMk id="5" creationId="{D332AD01-5E33-8B36-12B6-324CFA951BAD}"/>
          </ac:picMkLst>
        </pc:picChg>
        <pc:picChg chg="add mod">
          <ac:chgData name="Serena Shi" userId="3639e786-f11f-4e1d-b435-308c41a4e053" providerId="ADAL" clId="{704A293E-8E4F-144B-A434-111D8152FA5D}" dt="2023-12-06T20:12:05.424" v="383" actId="1076"/>
          <ac:picMkLst>
            <pc:docMk/>
            <pc:sldMk cId="350607174" sldId="335"/>
            <ac:picMk id="11" creationId="{51A9490A-EC18-459F-63E2-AC62793F2D91}"/>
          </ac:picMkLst>
        </pc:picChg>
        <pc:picChg chg="mod">
          <ac:chgData name="Serena Shi" userId="3639e786-f11f-4e1d-b435-308c41a4e053" providerId="ADAL" clId="{704A293E-8E4F-144B-A434-111D8152FA5D}" dt="2023-12-06T20:12:12.620" v="385" actId="14100"/>
          <ac:picMkLst>
            <pc:docMk/>
            <pc:sldMk cId="350607174" sldId="335"/>
            <ac:picMk id="12" creationId="{CE3AE05D-D0F7-CD4C-88D8-14FCAFC802B9}"/>
          </ac:picMkLst>
        </pc:picChg>
      </pc:sldChg>
      <pc:sldChg chg="addSp modSp mod modNotesTx">
        <pc:chgData name="Serena Shi" userId="3639e786-f11f-4e1d-b435-308c41a4e053" providerId="ADAL" clId="{704A293E-8E4F-144B-A434-111D8152FA5D}" dt="2023-12-08T21:16:24.270" v="829" actId="20577"/>
        <pc:sldMkLst>
          <pc:docMk/>
          <pc:sldMk cId="2106829005" sldId="336"/>
        </pc:sldMkLst>
        <pc:spChg chg="mod">
          <ac:chgData name="Serena Shi" userId="3639e786-f11f-4e1d-b435-308c41a4e053" providerId="ADAL" clId="{704A293E-8E4F-144B-A434-111D8152FA5D}" dt="2023-12-08T00:32:43.135" v="814" actId="113"/>
          <ac:spMkLst>
            <pc:docMk/>
            <pc:sldMk cId="2106829005" sldId="336"/>
            <ac:spMk id="6" creationId="{91BD71F9-D9E6-D240-AB34-39F192348E5E}"/>
          </ac:spMkLst>
        </pc:spChg>
        <pc:picChg chg="mod">
          <ac:chgData name="Serena Shi" userId="3639e786-f11f-4e1d-b435-308c41a4e053" providerId="ADAL" clId="{704A293E-8E4F-144B-A434-111D8152FA5D}" dt="2023-12-08T01:00:27.771" v="822" actId="1076"/>
          <ac:picMkLst>
            <pc:docMk/>
            <pc:sldMk cId="2106829005" sldId="336"/>
            <ac:picMk id="5" creationId="{7E85F242-D0F0-F342-B3D5-D5260D67243E}"/>
          </ac:picMkLst>
        </pc:picChg>
        <pc:picChg chg="add mod">
          <ac:chgData name="Serena Shi" userId="3639e786-f11f-4e1d-b435-308c41a4e053" providerId="ADAL" clId="{704A293E-8E4F-144B-A434-111D8152FA5D}" dt="2023-12-06T20:21:55.806" v="481" actId="1076"/>
          <ac:picMkLst>
            <pc:docMk/>
            <pc:sldMk cId="2106829005" sldId="336"/>
            <ac:picMk id="7" creationId="{A335A47E-D40E-3976-A3D7-5BC70EB3C295}"/>
          </ac:picMkLst>
        </pc:picChg>
      </pc:sldChg>
      <pc:sldChg chg="del">
        <pc:chgData name="Serena Shi" userId="3639e786-f11f-4e1d-b435-308c41a4e053" providerId="ADAL" clId="{704A293E-8E4F-144B-A434-111D8152FA5D}" dt="2023-12-08T23:30:19.292" v="890" actId="2696"/>
        <pc:sldMkLst>
          <pc:docMk/>
          <pc:sldMk cId="2506370649" sldId="337"/>
        </pc:sldMkLst>
      </pc:sldChg>
      <pc:sldChg chg="modSp mod">
        <pc:chgData name="Serena Shi" userId="3639e786-f11f-4e1d-b435-308c41a4e053" providerId="ADAL" clId="{704A293E-8E4F-144B-A434-111D8152FA5D}" dt="2023-12-08T01:03:09.371" v="823" actId="1076"/>
        <pc:sldMkLst>
          <pc:docMk/>
          <pc:sldMk cId="793417744" sldId="338"/>
        </pc:sldMkLst>
        <pc:spChg chg="mod">
          <ac:chgData name="Serena Shi" userId="3639e786-f11f-4e1d-b435-308c41a4e053" providerId="ADAL" clId="{704A293E-8E4F-144B-A434-111D8152FA5D}" dt="2023-12-08T01:03:09.371" v="823" actId="1076"/>
          <ac:spMkLst>
            <pc:docMk/>
            <pc:sldMk cId="793417744" sldId="338"/>
            <ac:spMk id="105" creationId="{D1DB1647-F93C-69F5-4B50-A78A6C75DC40}"/>
          </ac:spMkLst>
        </pc:spChg>
      </pc:sldChg>
      <pc:sldChg chg="modSp mod">
        <pc:chgData name="Serena Shi" userId="3639e786-f11f-4e1d-b435-308c41a4e053" providerId="ADAL" clId="{704A293E-8E4F-144B-A434-111D8152FA5D}" dt="2023-12-08T04:53:20.806" v="826" actId="1076"/>
        <pc:sldMkLst>
          <pc:docMk/>
          <pc:sldMk cId="975507179" sldId="339"/>
        </pc:sldMkLst>
        <pc:spChg chg="mod">
          <ac:chgData name="Serena Shi" userId="3639e786-f11f-4e1d-b435-308c41a4e053" providerId="ADAL" clId="{704A293E-8E4F-144B-A434-111D8152FA5D}" dt="2023-12-08T04:53:20.806" v="826" actId="1076"/>
          <ac:spMkLst>
            <pc:docMk/>
            <pc:sldMk cId="975507179" sldId="339"/>
            <ac:spMk id="12" creationId="{E3BF51AB-A294-0E1E-8DF0-6267E0F5A856}"/>
          </ac:spMkLst>
        </pc:spChg>
        <pc:cxnChg chg="mod">
          <ac:chgData name="Serena Shi" userId="3639e786-f11f-4e1d-b435-308c41a4e053" providerId="ADAL" clId="{704A293E-8E4F-144B-A434-111D8152FA5D}" dt="2023-12-08T04:53:20.806" v="826" actId="1076"/>
          <ac:cxnSpMkLst>
            <pc:docMk/>
            <pc:sldMk cId="975507179" sldId="339"/>
            <ac:cxnSpMk id="21" creationId="{C97D119B-B334-B743-DABA-51BE3837F6DC}"/>
          </ac:cxnSpMkLst>
        </pc:cxnChg>
      </pc:sldChg>
      <pc:sldMasterChg chg="delSldLayout">
        <pc:chgData name="Serena Shi" userId="3639e786-f11f-4e1d-b435-308c41a4e053" providerId="ADAL" clId="{704A293E-8E4F-144B-A434-111D8152FA5D}" dt="2023-12-08T23:30:16.659" v="888" actId="2696"/>
        <pc:sldMasterMkLst>
          <pc:docMk/>
          <pc:sldMasterMk cId="0" sldId="2147483683"/>
        </pc:sldMasterMkLst>
        <pc:sldLayoutChg chg="del">
          <pc:chgData name="Serena Shi" userId="3639e786-f11f-4e1d-b435-308c41a4e053" providerId="ADAL" clId="{704A293E-8E4F-144B-A434-111D8152FA5D}" dt="2023-12-08T23:30:13.849" v="875" actId="2696"/>
          <pc:sldLayoutMkLst>
            <pc:docMk/>
            <pc:sldMasterMk cId="0" sldId="2147483683"/>
            <pc:sldLayoutMk cId="0" sldId="2147483656"/>
          </pc:sldLayoutMkLst>
        </pc:sldLayoutChg>
        <pc:sldLayoutChg chg="del">
          <pc:chgData name="Serena Shi" userId="3639e786-f11f-4e1d-b435-308c41a4e053" providerId="ADAL" clId="{704A293E-8E4F-144B-A434-111D8152FA5D}" dt="2023-12-08T23:30:14.174" v="877" actId="2696"/>
          <pc:sldLayoutMkLst>
            <pc:docMk/>
            <pc:sldMasterMk cId="0" sldId="2147483683"/>
            <pc:sldLayoutMk cId="0" sldId="2147483657"/>
          </pc:sldLayoutMkLst>
        </pc:sldLayoutChg>
        <pc:sldLayoutChg chg="del">
          <pc:chgData name="Serena Shi" userId="3639e786-f11f-4e1d-b435-308c41a4e053" providerId="ADAL" clId="{704A293E-8E4F-144B-A434-111D8152FA5D}" dt="2023-12-08T23:30:11.959" v="868" actId="2696"/>
          <pc:sldLayoutMkLst>
            <pc:docMk/>
            <pc:sldMasterMk cId="0" sldId="2147483683"/>
            <pc:sldLayoutMk cId="0" sldId="2147483660"/>
          </pc:sldLayoutMkLst>
        </pc:sldLayoutChg>
        <pc:sldLayoutChg chg="del">
          <pc:chgData name="Serena Shi" userId="3639e786-f11f-4e1d-b435-308c41a4e053" providerId="ADAL" clId="{704A293E-8E4F-144B-A434-111D8152FA5D}" dt="2023-12-08T23:30:10.496" v="861" actId="2696"/>
          <pc:sldLayoutMkLst>
            <pc:docMk/>
            <pc:sldMasterMk cId="0" sldId="2147483683"/>
            <pc:sldLayoutMk cId="0" sldId="2147483663"/>
          </pc:sldLayoutMkLst>
        </pc:sldLayoutChg>
        <pc:sldLayoutChg chg="del">
          <pc:chgData name="Serena Shi" userId="3639e786-f11f-4e1d-b435-308c41a4e053" providerId="ADAL" clId="{704A293E-8E4F-144B-A434-111D8152FA5D}" dt="2023-12-08T23:30:09.417" v="856" actId="2696"/>
          <pc:sldLayoutMkLst>
            <pc:docMk/>
            <pc:sldMasterMk cId="0" sldId="2147483683"/>
            <pc:sldLayoutMk cId="0" sldId="2147483664"/>
          </pc:sldLayoutMkLst>
        </pc:sldLayoutChg>
        <pc:sldLayoutChg chg="del">
          <pc:chgData name="Serena Shi" userId="3639e786-f11f-4e1d-b435-308c41a4e053" providerId="ADAL" clId="{704A293E-8E4F-144B-A434-111D8152FA5D}" dt="2023-12-08T23:30:10.725" v="863" actId="2696"/>
          <pc:sldLayoutMkLst>
            <pc:docMk/>
            <pc:sldMasterMk cId="0" sldId="2147483683"/>
            <pc:sldLayoutMk cId="0" sldId="2147483665"/>
          </pc:sldLayoutMkLst>
        </pc:sldLayoutChg>
        <pc:sldLayoutChg chg="del">
          <pc:chgData name="Serena Shi" userId="3639e786-f11f-4e1d-b435-308c41a4e053" providerId="ADAL" clId="{704A293E-8E4F-144B-A434-111D8152FA5D}" dt="2023-12-08T23:30:16.659" v="888" actId="2696"/>
          <pc:sldLayoutMkLst>
            <pc:docMk/>
            <pc:sldMasterMk cId="0" sldId="2147483683"/>
            <pc:sldLayoutMk cId="0" sldId="2147483666"/>
          </pc:sldLayoutMkLst>
        </pc:sldLayoutChg>
        <pc:sldLayoutChg chg="del">
          <pc:chgData name="Serena Shi" userId="3639e786-f11f-4e1d-b435-308c41a4e053" providerId="ADAL" clId="{704A293E-8E4F-144B-A434-111D8152FA5D}" dt="2023-12-08T23:30:11.221" v="866" actId="2696"/>
          <pc:sldLayoutMkLst>
            <pc:docMk/>
            <pc:sldMasterMk cId="0" sldId="2147483683"/>
            <pc:sldLayoutMk cId="0" sldId="2147483668"/>
          </pc:sldLayoutMkLst>
        </pc:sldLayoutChg>
        <pc:sldLayoutChg chg="del">
          <pc:chgData name="Serena Shi" userId="3639e786-f11f-4e1d-b435-308c41a4e053" providerId="ADAL" clId="{704A293E-8E4F-144B-A434-111D8152FA5D}" dt="2023-12-08T23:30:15.480" v="883" actId="2696"/>
          <pc:sldLayoutMkLst>
            <pc:docMk/>
            <pc:sldMasterMk cId="0" sldId="2147483683"/>
            <pc:sldLayoutMk cId="0" sldId="2147483669"/>
          </pc:sldLayoutMkLst>
        </pc:sldLayoutChg>
        <pc:sldLayoutChg chg="del">
          <pc:chgData name="Serena Shi" userId="3639e786-f11f-4e1d-b435-308c41a4e053" providerId="ADAL" clId="{704A293E-8E4F-144B-A434-111D8152FA5D}" dt="2023-12-08T23:30:13.563" v="873" actId="2696"/>
          <pc:sldLayoutMkLst>
            <pc:docMk/>
            <pc:sldMasterMk cId="0" sldId="2147483683"/>
            <pc:sldLayoutMk cId="0" sldId="2147483670"/>
          </pc:sldLayoutMkLst>
        </pc:sldLayoutChg>
        <pc:sldLayoutChg chg="del">
          <pc:chgData name="Serena Shi" userId="3639e786-f11f-4e1d-b435-308c41a4e053" providerId="ADAL" clId="{704A293E-8E4F-144B-A434-111D8152FA5D}" dt="2023-12-08T23:30:09.604" v="858" actId="2696"/>
          <pc:sldLayoutMkLst>
            <pc:docMk/>
            <pc:sldMasterMk cId="0" sldId="2147483683"/>
            <pc:sldLayoutMk cId="0" sldId="2147483671"/>
          </pc:sldLayoutMkLst>
        </pc:sldLayoutChg>
        <pc:sldLayoutChg chg="del">
          <pc:chgData name="Serena Shi" userId="3639e786-f11f-4e1d-b435-308c41a4e053" providerId="ADAL" clId="{704A293E-8E4F-144B-A434-111D8152FA5D}" dt="2023-12-08T23:30:12.511" v="870" actId="2696"/>
          <pc:sldLayoutMkLst>
            <pc:docMk/>
            <pc:sldMasterMk cId="0" sldId="2147483683"/>
            <pc:sldLayoutMk cId="0" sldId="2147483672"/>
          </pc:sldLayoutMkLst>
        </pc:sldLayoutChg>
        <pc:sldLayoutChg chg="del">
          <pc:chgData name="Serena Shi" userId="3639e786-f11f-4e1d-b435-308c41a4e053" providerId="ADAL" clId="{704A293E-8E4F-144B-A434-111D8152FA5D}" dt="2023-12-08T23:30:14.756" v="880" actId="2696"/>
          <pc:sldLayoutMkLst>
            <pc:docMk/>
            <pc:sldMasterMk cId="0" sldId="2147483683"/>
            <pc:sldLayoutMk cId="0" sldId="2147483673"/>
          </pc:sldLayoutMkLst>
        </pc:sldLayoutChg>
        <pc:sldLayoutChg chg="del">
          <pc:chgData name="Serena Shi" userId="3639e786-f11f-4e1d-b435-308c41a4e053" providerId="ADAL" clId="{704A293E-8E4F-144B-A434-111D8152FA5D}" dt="2023-12-08T23:30:15.981" v="885" actId="2696"/>
          <pc:sldLayoutMkLst>
            <pc:docMk/>
            <pc:sldMasterMk cId="0" sldId="2147483683"/>
            <pc:sldLayoutMk cId="0" sldId="2147483674"/>
          </pc:sldLayoutMkLst>
        </pc:sldLayoutChg>
        <pc:sldLayoutChg chg="del">
          <pc:chgData name="Serena Shi" userId="3639e786-f11f-4e1d-b435-308c41a4e053" providerId="ADAL" clId="{704A293E-8E4F-144B-A434-111D8152FA5D}" dt="2023-12-08T23:30:09.223" v="854" actId="2696"/>
          <pc:sldLayoutMkLst>
            <pc:docMk/>
            <pc:sldMasterMk cId="0" sldId="2147483683"/>
            <pc:sldLayoutMk cId="0" sldId="2147483676"/>
          </pc:sldLayoutMkLst>
        </pc:sldLayoutChg>
      </pc:sldMasterChg>
      <pc:sldMasterChg chg="del delSldLayout">
        <pc:chgData name="Serena Shi" userId="3639e786-f11f-4e1d-b435-308c41a4e053" providerId="ADAL" clId="{704A293E-8E4F-144B-A434-111D8152FA5D}" dt="2023-12-08T23:30:08.191" v="850" actId="2696"/>
        <pc:sldMasterMkLst>
          <pc:docMk/>
          <pc:sldMasterMk cId="0" sldId="2147483684"/>
        </pc:sldMasterMkLst>
        <pc:sldLayoutChg chg="del">
          <pc:chgData name="Serena Shi" userId="3639e786-f11f-4e1d-b435-308c41a4e053" providerId="ADAL" clId="{704A293E-8E4F-144B-A434-111D8152FA5D}" dt="2023-12-08T23:30:07.545" v="843" actId="2696"/>
          <pc:sldLayoutMkLst>
            <pc:docMk/>
            <pc:sldMasterMk cId="0" sldId="2147483684"/>
            <pc:sldLayoutMk cId="0" sldId="2147483681"/>
          </pc:sldLayoutMkLst>
        </pc:sldLayoutChg>
        <pc:sldLayoutChg chg="del">
          <pc:chgData name="Serena Shi" userId="3639e786-f11f-4e1d-b435-308c41a4e053" providerId="ADAL" clId="{704A293E-8E4F-144B-A434-111D8152FA5D}" dt="2023-12-08T23:30:08.189" v="849" actId="2696"/>
          <pc:sldLayoutMkLst>
            <pc:docMk/>
            <pc:sldMasterMk cId="0" sldId="2147483684"/>
            <pc:sldLayoutMk cId="0" sldId="2147483682"/>
          </pc:sldLayoutMkLst>
        </pc:sldLayoutChg>
      </pc:sldMasterChg>
    </pc:docChg>
  </pc:docChgLst>
  <pc:docChgLst>
    <pc:chgData name="Jiayi Deng" userId="1a00fe64-c1f9-48ee-8835-dcb79118203c" providerId="ADAL" clId="{C5AC4572-7526-4C2E-B9F3-B195E90BCC87}"/>
    <pc:docChg chg="undo custSel addSld delSld modSld sldOrd modMainMaster modSection replTag">
      <pc:chgData name="Jiayi Deng" userId="1a00fe64-c1f9-48ee-8835-dcb79118203c" providerId="ADAL" clId="{C5AC4572-7526-4C2E-B9F3-B195E90BCC87}" dt="2023-12-07T08:25:55.987" v="8567" actId="20577"/>
      <pc:docMkLst>
        <pc:docMk/>
      </pc:docMkLst>
      <pc:sldChg chg="addSp modSp mod addCm modCm">
        <pc:chgData name="Jiayi Deng" userId="1a00fe64-c1f9-48ee-8835-dcb79118203c" providerId="ADAL" clId="{C5AC4572-7526-4C2E-B9F3-B195E90BCC87}" dt="2023-12-06T11:01:15.939" v="2970"/>
        <pc:sldMkLst>
          <pc:docMk/>
          <pc:sldMk cId="0" sldId="256"/>
        </pc:sldMkLst>
        <pc:spChg chg="mod">
          <ac:chgData name="Jiayi Deng" userId="1a00fe64-c1f9-48ee-8835-dcb79118203c" providerId="ADAL" clId="{C5AC4572-7526-4C2E-B9F3-B195E90BCC87}" dt="2023-12-06T10:33:38.979" v="2148" actId="1076"/>
          <ac:spMkLst>
            <pc:docMk/>
            <pc:sldMk cId="0" sldId="256"/>
            <ac:spMk id="180" creationId="{00000000-0000-0000-0000-000000000000}"/>
          </ac:spMkLst>
        </pc:spChg>
        <pc:spChg chg="mod">
          <ac:chgData name="Jiayi Deng" userId="1a00fe64-c1f9-48ee-8835-dcb79118203c" providerId="ADAL" clId="{C5AC4572-7526-4C2E-B9F3-B195E90BCC87}" dt="2023-12-06T10:33:48.962" v="2159" actId="14100"/>
          <ac:spMkLst>
            <pc:docMk/>
            <pc:sldMk cId="0" sldId="256"/>
            <ac:spMk id="182" creationId="{00000000-0000-0000-0000-000000000000}"/>
          </ac:spMkLst>
        </pc:spChg>
        <pc:graphicFrameChg chg="add mod ord modVis replST">
          <ac:chgData name="Jiayi Deng" userId="1a00fe64-c1f9-48ee-8835-dcb79118203c" providerId="ADAL" clId="{C5AC4572-7526-4C2E-B9F3-B195E90BCC87}" dt="2023-12-06T10:33:49.483" v="2163"/>
          <ac:graphicFrameMkLst>
            <pc:docMk/>
            <pc:sldMk cId="0" sldId="256"/>
            <ac:graphicFrameMk id="2" creationId="{5FCCF7F4-6036-4F34-ADF5-8340CFF8212D}"/>
          </ac:graphicFrameMkLst>
        </pc:graphicFrameChg>
        <pc:picChg chg="mod">
          <ac:chgData name="Jiayi Deng" userId="1a00fe64-c1f9-48ee-8835-dcb79118203c" providerId="ADAL" clId="{C5AC4572-7526-4C2E-B9F3-B195E90BCC87}" dt="2023-12-06T10:33:53.646" v="2164" actId="1076"/>
          <ac:picMkLst>
            <pc:docMk/>
            <pc:sldMk cId="0" sldId="256"/>
            <ac:picMk id="181" creationId="{00000000-0000-0000-0000-000000000000}"/>
          </ac:picMkLst>
        </pc:picChg>
      </pc:sldChg>
      <pc:sldChg chg="addSp delSp modSp mod delCm modCm">
        <pc:chgData name="Jiayi Deng" userId="1a00fe64-c1f9-48ee-8835-dcb79118203c" providerId="ADAL" clId="{C5AC4572-7526-4C2E-B9F3-B195E90BCC87}" dt="2023-12-06T11:01:23.607" v="2971"/>
        <pc:sldMkLst>
          <pc:docMk/>
          <pc:sldMk cId="0" sldId="258"/>
        </pc:sldMkLst>
        <pc:spChg chg="add del mod">
          <ac:chgData name="Jiayi Deng" userId="1a00fe64-c1f9-48ee-8835-dcb79118203c" providerId="ADAL" clId="{C5AC4572-7526-4C2E-B9F3-B195E90BCC87}" dt="2023-12-06T10:13:00.041" v="921" actId="478"/>
          <ac:spMkLst>
            <pc:docMk/>
            <pc:sldMk cId="0" sldId="258"/>
            <ac:spMk id="4" creationId="{A5335D5D-ECCC-246C-5A75-458A0D13917C}"/>
          </ac:spMkLst>
        </pc:spChg>
        <pc:spChg chg="add mod">
          <ac:chgData name="Jiayi Deng" userId="1a00fe64-c1f9-48ee-8835-dcb79118203c" providerId="ADAL" clId="{C5AC4572-7526-4C2E-B9F3-B195E90BCC87}" dt="2023-12-06T10:21:02.477" v="1435" actId="1035"/>
          <ac:spMkLst>
            <pc:docMk/>
            <pc:sldMk cId="0" sldId="258"/>
            <ac:spMk id="5" creationId="{4A1F60A6-A7C1-9E40-245A-BDC5E24B122A}"/>
          </ac:spMkLst>
        </pc:spChg>
        <pc:spChg chg="add del mod">
          <ac:chgData name="Jiayi Deng" userId="1a00fe64-c1f9-48ee-8835-dcb79118203c" providerId="ADAL" clId="{C5AC4572-7526-4C2E-B9F3-B195E90BCC87}" dt="2023-12-06T10:14:06.194" v="982" actId="478"/>
          <ac:spMkLst>
            <pc:docMk/>
            <pc:sldMk cId="0" sldId="258"/>
            <ac:spMk id="7" creationId="{660899BE-71B9-2262-6A67-841F1AE18737}"/>
          </ac:spMkLst>
        </pc:spChg>
        <pc:spChg chg="add del mod">
          <ac:chgData name="Jiayi Deng" userId="1a00fe64-c1f9-48ee-8835-dcb79118203c" providerId="ADAL" clId="{C5AC4572-7526-4C2E-B9F3-B195E90BCC87}" dt="2023-12-06T10:14:10.271" v="993" actId="478"/>
          <ac:spMkLst>
            <pc:docMk/>
            <pc:sldMk cId="0" sldId="258"/>
            <ac:spMk id="9" creationId="{EAE42B7A-48EE-9BF4-A3F5-C098364D6BD6}"/>
          </ac:spMkLst>
        </pc:spChg>
        <pc:spChg chg="add del mod">
          <ac:chgData name="Jiayi Deng" userId="1a00fe64-c1f9-48ee-8835-dcb79118203c" providerId="ADAL" clId="{C5AC4572-7526-4C2E-B9F3-B195E90BCC87}" dt="2023-12-06T10:14:11.387" v="999" actId="478"/>
          <ac:spMkLst>
            <pc:docMk/>
            <pc:sldMk cId="0" sldId="258"/>
            <ac:spMk id="11" creationId="{0EEEC5A9-39EC-B6C2-E70D-10C82128F2E8}"/>
          </ac:spMkLst>
        </pc:spChg>
        <pc:spChg chg="add del mod">
          <ac:chgData name="Jiayi Deng" userId="1a00fe64-c1f9-48ee-8835-dcb79118203c" providerId="ADAL" clId="{C5AC4572-7526-4C2E-B9F3-B195E90BCC87}" dt="2023-12-06T10:14:13.771" v="1005" actId="478"/>
          <ac:spMkLst>
            <pc:docMk/>
            <pc:sldMk cId="0" sldId="258"/>
            <ac:spMk id="13" creationId="{103B56BD-1CF8-3BA5-C76A-E82763118F25}"/>
          </ac:spMkLst>
        </pc:spChg>
        <pc:spChg chg="add del mod">
          <ac:chgData name="Jiayi Deng" userId="1a00fe64-c1f9-48ee-8835-dcb79118203c" providerId="ADAL" clId="{C5AC4572-7526-4C2E-B9F3-B195E90BCC87}" dt="2023-12-06T10:14:17.038" v="1015" actId="478"/>
          <ac:spMkLst>
            <pc:docMk/>
            <pc:sldMk cId="0" sldId="258"/>
            <ac:spMk id="15" creationId="{BB4F2A16-2A8E-DF4A-F3BF-E9FDAB3319E8}"/>
          </ac:spMkLst>
        </pc:spChg>
        <pc:spChg chg="add del mod">
          <ac:chgData name="Jiayi Deng" userId="1a00fe64-c1f9-48ee-8835-dcb79118203c" providerId="ADAL" clId="{C5AC4572-7526-4C2E-B9F3-B195E90BCC87}" dt="2023-12-06T10:14:20.218" v="1025" actId="478"/>
          <ac:spMkLst>
            <pc:docMk/>
            <pc:sldMk cId="0" sldId="258"/>
            <ac:spMk id="17" creationId="{15D62342-DF7D-9A57-0BCE-E71335FADCA3}"/>
          </ac:spMkLst>
        </pc:spChg>
        <pc:spChg chg="add del mod">
          <ac:chgData name="Jiayi Deng" userId="1a00fe64-c1f9-48ee-8835-dcb79118203c" providerId="ADAL" clId="{C5AC4572-7526-4C2E-B9F3-B195E90BCC87}" dt="2023-12-06T10:14:22.434" v="1031" actId="478"/>
          <ac:spMkLst>
            <pc:docMk/>
            <pc:sldMk cId="0" sldId="258"/>
            <ac:spMk id="19" creationId="{CD0D01F5-A1A7-8A57-355D-FDBBE1C19AEC}"/>
          </ac:spMkLst>
        </pc:spChg>
        <pc:spChg chg="add del mod">
          <ac:chgData name="Jiayi Deng" userId="1a00fe64-c1f9-48ee-8835-dcb79118203c" providerId="ADAL" clId="{C5AC4572-7526-4C2E-B9F3-B195E90BCC87}" dt="2023-12-06T10:14:24.834" v="1037" actId="478"/>
          <ac:spMkLst>
            <pc:docMk/>
            <pc:sldMk cId="0" sldId="258"/>
            <ac:spMk id="21" creationId="{15643B30-50EF-A31C-A550-E7BFE87D8749}"/>
          </ac:spMkLst>
        </pc:spChg>
        <pc:spChg chg="add del mod">
          <ac:chgData name="Jiayi Deng" userId="1a00fe64-c1f9-48ee-8835-dcb79118203c" providerId="ADAL" clId="{C5AC4572-7526-4C2E-B9F3-B195E90BCC87}" dt="2023-12-06T10:14:29.515" v="1048" actId="478"/>
          <ac:spMkLst>
            <pc:docMk/>
            <pc:sldMk cId="0" sldId="258"/>
            <ac:spMk id="23" creationId="{84C0BB54-4402-A105-A38C-F61C54B61739}"/>
          </ac:spMkLst>
        </pc:spChg>
        <pc:spChg chg="add del mod">
          <ac:chgData name="Jiayi Deng" userId="1a00fe64-c1f9-48ee-8835-dcb79118203c" providerId="ADAL" clId="{C5AC4572-7526-4C2E-B9F3-B195E90BCC87}" dt="2023-12-06T10:14:30.898" v="1053" actId="478"/>
          <ac:spMkLst>
            <pc:docMk/>
            <pc:sldMk cId="0" sldId="258"/>
            <ac:spMk id="25" creationId="{DF8616AF-E138-1A83-EC18-BC8142C30C77}"/>
          </ac:spMkLst>
        </pc:spChg>
        <pc:spChg chg="add del mod">
          <ac:chgData name="Jiayi Deng" userId="1a00fe64-c1f9-48ee-8835-dcb79118203c" providerId="ADAL" clId="{C5AC4572-7526-4C2E-B9F3-B195E90BCC87}" dt="2023-12-06T10:14:33.982" v="1059" actId="478"/>
          <ac:spMkLst>
            <pc:docMk/>
            <pc:sldMk cId="0" sldId="258"/>
            <ac:spMk id="27" creationId="{38DC72AA-C796-A79B-8DE9-DA8C9DE4A155}"/>
          </ac:spMkLst>
        </pc:spChg>
        <pc:spChg chg="add del mod">
          <ac:chgData name="Jiayi Deng" userId="1a00fe64-c1f9-48ee-8835-dcb79118203c" providerId="ADAL" clId="{C5AC4572-7526-4C2E-B9F3-B195E90BCC87}" dt="2023-12-06T10:14:49.138" v="1074" actId="478"/>
          <ac:spMkLst>
            <pc:docMk/>
            <pc:sldMk cId="0" sldId="258"/>
            <ac:spMk id="29" creationId="{B4E2B12B-6063-6903-FEE3-B16CD6BF925E}"/>
          </ac:spMkLst>
        </pc:spChg>
        <pc:spChg chg="add del mod">
          <ac:chgData name="Jiayi Deng" userId="1a00fe64-c1f9-48ee-8835-dcb79118203c" providerId="ADAL" clId="{C5AC4572-7526-4C2E-B9F3-B195E90BCC87}" dt="2023-12-06T10:14:51" v="1080" actId="478"/>
          <ac:spMkLst>
            <pc:docMk/>
            <pc:sldMk cId="0" sldId="258"/>
            <ac:spMk id="31" creationId="{48DA55F2-B2CE-9318-9635-9C3A4C67206C}"/>
          </ac:spMkLst>
        </pc:spChg>
        <pc:spChg chg="add del mod">
          <ac:chgData name="Jiayi Deng" userId="1a00fe64-c1f9-48ee-8835-dcb79118203c" providerId="ADAL" clId="{C5AC4572-7526-4C2E-B9F3-B195E90BCC87}" dt="2023-12-06T10:14:53.315" v="1086" actId="478"/>
          <ac:spMkLst>
            <pc:docMk/>
            <pc:sldMk cId="0" sldId="258"/>
            <ac:spMk id="33" creationId="{95CB2121-7C79-393C-1E7E-CE2CC6EF33AA}"/>
          </ac:spMkLst>
        </pc:spChg>
        <pc:spChg chg="add del mod">
          <ac:chgData name="Jiayi Deng" userId="1a00fe64-c1f9-48ee-8835-dcb79118203c" providerId="ADAL" clId="{C5AC4572-7526-4C2E-B9F3-B195E90BCC87}" dt="2023-12-06T10:14:55.625" v="1092" actId="478"/>
          <ac:spMkLst>
            <pc:docMk/>
            <pc:sldMk cId="0" sldId="258"/>
            <ac:spMk id="35" creationId="{DCBBCED5-CA7F-7B49-A911-08A0F3A39A30}"/>
          </ac:spMkLst>
        </pc:spChg>
        <pc:spChg chg="add mod">
          <ac:chgData name="Jiayi Deng" userId="1a00fe64-c1f9-48ee-8835-dcb79118203c" providerId="ADAL" clId="{C5AC4572-7526-4C2E-B9F3-B195E90BCC87}" dt="2023-12-06T10:21:02.477" v="1435" actId="1035"/>
          <ac:spMkLst>
            <pc:docMk/>
            <pc:sldMk cId="0" sldId="258"/>
            <ac:spMk id="36" creationId="{06FC7791-F792-53FA-4B28-6774556D52C6}"/>
          </ac:spMkLst>
        </pc:spChg>
        <pc:spChg chg="add del mod">
          <ac:chgData name="Jiayi Deng" userId="1a00fe64-c1f9-48ee-8835-dcb79118203c" providerId="ADAL" clId="{C5AC4572-7526-4C2E-B9F3-B195E90BCC87}" dt="2023-12-06T10:15:28.656" v="1107"/>
          <ac:spMkLst>
            <pc:docMk/>
            <pc:sldMk cId="0" sldId="258"/>
            <ac:spMk id="37" creationId="{E42F1C97-F386-C9AD-D49D-9788CA59ECEA}"/>
          </ac:spMkLst>
        </pc:spChg>
        <pc:spChg chg="add del mod">
          <ac:chgData name="Jiayi Deng" userId="1a00fe64-c1f9-48ee-8835-dcb79118203c" providerId="ADAL" clId="{C5AC4572-7526-4C2E-B9F3-B195E90BCC87}" dt="2023-12-06T10:15:28.656" v="1107"/>
          <ac:spMkLst>
            <pc:docMk/>
            <pc:sldMk cId="0" sldId="258"/>
            <ac:spMk id="38" creationId="{FB9BD3E0-A7D8-CACC-7720-4A0A501E5D36}"/>
          </ac:spMkLst>
        </pc:spChg>
        <pc:spChg chg="add mod">
          <ac:chgData name="Jiayi Deng" userId="1a00fe64-c1f9-48ee-8835-dcb79118203c" providerId="ADAL" clId="{C5AC4572-7526-4C2E-B9F3-B195E90BCC87}" dt="2023-12-06T10:21:02.477" v="1435" actId="1035"/>
          <ac:spMkLst>
            <pc:docMk/>
            <pc:sldMk cId="0" sldId="258"/>
            <ac:spMk id="39" creationId="{08E6AB82-180E-7BAE-078D-6581A1E6FE23}"/>
          </ac:spMkLst>
        </pc:spChg>
        <pc:spChg chg="add del mod">
          <ac:chgData name="Jiayi Deng" userId="1a00fe64-c1f9-48ee-8835-dcb79118203c" providerId="ADAL" clId="{C5AC4572-7526-4C2E-B9F3-B195E90BCC87}" dt="2023-12-06T10:18:05.294" v="1288" actId="478"/>
          <ac:spMkLst>
            <pc:docMk/>
            <pc:sldMk cId="0" sldId="258"/>
            <ac:spMk id="40" creationId="{592422E3-4FC2-CC10-561E-0D9D979FB2C1}"/>
          </ac:spMkLst>
        </pc:spChg>
        <pc:spChg chg="add mod">
          <ac:chgData name="Jiayi Deng" userId="1a00fe64-c1f9-48ee-8835-dcb79118203c" providerId="ADAL" clId="{C5AC4572-7526-4C2E-B9F3-B195E90BCC87}" dt="2023-12-06T10:21:02.477" v="1435" actId="1035"/>
          <ac:spMkLst>
            <pc:docMk/>
            <pc:sldMk cId="0" sldId="258"/>
            <ac:spMk id="41" creationId="{BB6F0FEA-5851-2DC5-A75F-7410F299F953}"/>
          </ac:spMkLst>
        </pc:spChg>
        <pc:spChg chg="add del mod">
          <ac:chgData name="Jiayi Deng" userId="1a00fe64-c1f9-48ee-8835-dcb79118203c" providerId="ADAL" clId="{C5AC4572-7526-4C2E-B9F3-B195E90BCC87}" dt="2023-12-06T10:18:30.086" v="1329" actId="478"/>
          <ac:spMkLst>
            <pc:docMk/>
            <pc:sldMk cId="0" sldId="258"/>
            <ac:spMk id="42" creationId="{46B95BD0-601C-73A6-53A7-2ABBC24FDD05}"/>
          </ac:spMkLst>
        </pc:spChg>
        <pc:spChg chg="add mod">
          <ac:chgData name="Jiayi Deng" userId="1a00fe64-c1f9-48ee-8835-dcb79118203c" providerId="ADAL" clId="{C5AC4572-7526-4C2E-B9F3-B195E90BCC87}" dt="2023-12-06T10:21:02.477" v="1435" actId="1035"/>
          <ac:spMkLst>
            <pc:docMk/>
            <pc:sldMk cId="0" sldId="258"/>
            <ac:spMk id="43" creationId="{5F9DA7A0-2F6D-55B2-E78C-3D91827A263B}"/>
          </ac:spMkLst>
        </pc:spChg>
        <pc:spChg chg="add mod">
          <ac:chgData name="Jiayi Deng" userId="1a00fe64-c1f9-48ee-8835-dcb79118203c" providerId="ADAL" clId="{C5AC4572-7526-4C2E-B9F3-B195E90BCC87}" dt="2023-12-06T10:25:29.237" v="1669" actId="20577"/>
          <ac:spMkLst>
            <pc:docMk/>
            <pc:sldMk cId="0" sldId="258"/>
            <ac:spMk id="44" creationId="{C2E5E1B5-1B70-A32E-AF5E-92D19B371F1E}"/>
          </ac:spMkLst>
        </pc:spChg>
        <pc:spChg chg="add mod">
          <ac:chgData name="Jiayi Deng" userId="1a00fe64-c1f9-48ee-8835-dcb79118203c" providerId="ADAL" clId="{C5AC4572-7526-4C2E-B9F3-B195E90BCC87}" dt="2023-12-06T10:21:02.477" v="1435" actId="1035"/>
          <ac:spMkLst>
            <pc:docMk/>
            <pc:sldMk cId="0" sldId="258"/>
            <ac:spMk id="45" creationId="{B4DE7AD1-8FE1-90C5-DDB0-0410D4FE710E}"/>
          </ac:spMkLst>
        </pc:spChg>
        <pc:spChg chg="add mod">
          <ac:chgData name="Jiayi Deng" userId="1a00fe64-c1f9-48ee-8835-dcb79118203c" providerId="ADAL" clId="{C5AC4572-7526-4C2E-B9F3-B195E90BCC87}" dt="2023-12-06T10:21:02.477" v="1435" actId="1035"/>
          <ac:spMkLst>
            <pc:docMk/>
            <pc:sldMk cId="0" sldId="258"/>
            <ac:spMk id="46" creationId="{939DDC6C-4460-7ACC-9E3D-5B4432BA3819}"/>
          </ac:spMkLst>
        </pc:spChg>
        <pc:spChg chg="add mod">
          <ac:chgData name="Jiayi Deng" userId="1a00fe64-c1f9-48ee-8835-dcb79118203c" providerId="ADAL" clId="{C5AC4572-7526-4C2E-B9F3-B195E90BCC87}" dt="2023-12-06T10:21:02.477" v="1435" actId="1035"/>
          <ac:spMkLst>
            <pc:docMk/>
            <pc:sldMk cId="0" sldId="258"/>
            <ac:spMk id="47" creationId="{FB98437C-7B34-48EB-F448-E5571901682A}"/>
          </ac:spMkLst>
        </pc:spChg>
        <pc:spChg chg="add mod">
          <ac:chgData name="Jiayi Deng" userId="1a00fe64-c1f9-48ee-8835-dcb79118203c" providerId="ADAL" clId="{C5AC4572-7526-4C2E-B9F3-B195E90BCC87}" dt="2023-12-06T10:23:43.843" v="1456" actId="20577"/>
          <ac:spMkLst>
            <pc:docMk/>
            <pc:sldMk cId="0" sldId="258"/>
            <ac:spMk id="48" creationId="{BA561210-85A8-9FD9-DF59-30BBB78DD9D9}"/>
          </ac:spMkLst>
        </pc:spChg>
        <pc:spChg chg="mod">
          <ac:chgData name="Jiayi Deng" userId="1a00fe64-c1f9-48ee-8835-dcb79118203c" providerId="ADAL" clId="{C5AC4572-7526-4C2E-B9F3-B195E90BCC87}" dt="2023-12-06T10:21:02.477" v="1435" actId="1035"/>
          <ac:spMkLst>
            <pc:docMk/>
            <pc:sldMk cId="0" sldId="258"/>
            <ac:spMk id="196" creationId="{00000000-0000-0000-0000-000000000000}"/>
          </ac:spMkLst>
        </pc:spChg>
        <pc:spChg chg="del mod">
          <ac:chgData name="Jiayi Deng" userId="1a00fe64-c1f9-48ee-8835-dcb79118203c" providerId="ADAL" clId="{C5AC4572-7526-4C2E-B9F3-B195E90BCC87}" dt="2023-12-06T10:12:58.210" v="920" actId="478"/>
          <ac:spMkLst>
            <pc:docMk/>
            <pc:sldMk cId="0" sldId="258"/>
            <ac:spMk id="197" creationId="{00000000-0000-0000-0000-000000000000}"/>
          </ac:spMkLst>
        </pc:spChg>
        <pc:spChg chg="del mod">
          <ac:chgData name="Jiayi Deng" userId="1a00fe64-c1f9-48ee-8835-dcb79118203c" providerId="ADAL" clId="{C5AC4572-7526-4C2E-B9F3-B195E90BCC87}" dt="2023-12-06T10:14:08.913" v="988" actId="478"/>
          <ac:spMkLst>
            <pc:docMk/>
            <pc:sldMk cId="0" sldId="258"/>
            <ac:spMk id="198" creationId="{00000000-0000-0000-0000-000000000000}"/>
          </ac:spMkLst>
        </pc:spChg>
        <pc:spChg chg="del">
          <ac:chgData name="Jiayi Deng" userId="1a00fe64-c1f9-48ee-8835-dcb79118203c" providerId="ADAL" clId="{C5AC4572-7526-4C2E-B9F3-B195E90BCC87}" dt="2023-12-06T10:14:11.001" v="998" actId="478"/>
          <ac:spMkLst>
            <pc:docMk/>
            <pc:sldMk cId="0" sldId="258"/>
            <ac:spMk id="199" creationId="{00000000-0000-0000-0000-000000000000}"/>
          </ac:spMkLst>
        </pc:spChg>
        <pc:spChg chg="del mod">
          <ac:chgData name="Jiayi Deng" userId="1a00fe64-c1f9-48ee-8835-dcb79118203c" providerId="ADAL" clId="{C5AC4572-7526-4C2E-B9F3-B195E90BCC87}" dt="2023-12-06T10:14:47.439" v="1069" actId="478"/>
          <ac:spMkLst>
            <pc:docMk/>
            <pc:sldMk cId="0" sldId="258"/>
            <ac:spMk id="200" creationId="{00000000-0000-0000-0000-000000000000}"/>
          </ac:spMkLst>
        </pc:spChg>
        <pc:spChg chg="del">
          <ac:chgData name="Jiayi Deng" userId="1a00fe64-c1f9-48ee-8835-dcb79118203c" providerId="ADAL" clId="{C5AC4572-7526-4C2E-B9F3-B195E90BCC87}" dt="2023-12-06T10:14:50.125" v="1079" actId="478"/>
          <ac:spMkLst>
            <pc:docMk/>
            <pc:sldMk cId="0" sldId="258"/>
            <ac:spMk id="201" creationId="{00000000-0000-0000-0000-000000000000}"/>
          </ac:spMkLst>
        </pc:spChg>
        <pc:spChg chg="del">
          <ac:chgData name="Jiayi Deng" userId="1a00fe64-c1f9-48ee-8835-dcb79118203c" providerId="ADAL" clId="{C5AC4572-7526-4C2E-B9F3-B195E90BCC87}" dt="2023-12-06T10:14:18.381" v="1020" actId="478"/>
          <ac:spMkLst>
            <pc:docMk/>
            <pc:sldMk cId="0" sldId="258"/>
            <ac:spMk id="202" creationId="{00000000-0000-0000-0000-000000000000}"/>
          </ac:spMkLst>
        </pc:spChg>
        <pc:spChg chg="del">
          <ac:chgData name="Jiayi Deng" userId="1a00fe64-c1f9-48ee-8835-dcb79118203c" providerId="ADAL" clId="{C5AC4572-7526-4C2E-B9F3-B195E90BCC87}" dt="2023-12-06T10:14:21.472" v="1030" actId="478"/>
          <ac:spMkLst>
            <pc:docMk/>
            <pc:sldMk cId="0" sldId="258"/>
            <ac:spMk id="203" creationId="{00000000-0000-0000-0000-000000000000}"/>
          </ac:spMkLst>
        </pc:spChg>
        <pc:spChg chg="mod">
          <ac:chgData name="Jiayi Deng" userId="1a00fe64-c1f9-48ee-8835-dcb79118203c" providerId="ADAL" clId="{C5AC4572-7526-4C2E-B9F3-B195E90BCC87}" dt="2023-12-06T10:21:02.477" v="1435" actId="1035"/>
          <ac:spMkLst>
            <pc:docMk/>
            <pc:sldMk cId="0" sldId="258"/>
            <ac:spMk id="204" creationId="{00000000-0000-0000-0000-000000000000}"/>
          </ac:spMkLst>
        </pc:spChg>
        <pc:spChg chg="del">
          <ac:chgData name="Jiayi Deng" userId="1a00fe64-c1f9-48ee-8835-dcb79118203c" providerId="ADAL" clId="{C5AC4572-7526-4C2E-B9F3-B195E90BCC87}" dt="2023-12-06T10:14:03.989" v="977" actId="478"/>
          <ac:spMkLst>
            <pc:docMk/>
            <pc:sldMk cId="0" sldId="258"/>
            <ac:spMk id="205" creationId="{00000000-0000-0000-0000-000000000000}"/>
          </ac:spMkLst>
        </pc:spChg>
        <pc:spChg chg="del">
          <ac:chgData name="Jiayi Deng" userId="1a00fe64-c1f9-48ee-8835-dcb79118203c" providerId="ADAL" clId="{C5AC4572-7526-4C2E-B9F3-B195E90BCC87}" dt="2023-12-06T10:14:11.854" v="1000" actId="478"/>
          <ac:spMkLst>
            <pc:docMk/>
            <pc:sldMk cId="0" sldId="258"/>
            <ac:spMk id="206" creationId="{00000000-0000-0000-0000-000000000000}"/>
          </ac:spMkLst>
        </pc:spChg>
        <pc:spChg chg="del">
          <ac:chgData name="Jiayi Deng" userId="1a00fe64-c1f9-48ee-8835-dcb79118203c" providerId="ADAL" clId="{C5AC4572-7526-4C2E-B9F3-B195E90BCC87}" dt="2023-12-06T10:14:15.279" v="1010" actId="478"/>
          <ac:spMkLst>
            <pc:docMk/>
            <pc:sldMk cId="0" sldId="258"/>
            <ac:spMk id="207" creationId="{00000000-0000-0000-0000-000000000000}"/>
          </ac:spMkLst>
        </pc:spChg>
        <pc:spChg chg="del">
          <ac:chgData name="Jiayi Deng" userId="1a00fe64-c1f9-48ee-8835-dcb79118203c" providerId="ADAL" clId="{C5AC4572-7526-4C2E-B9F3-B195E90BCC87}" dt="2023-12-06T10:14:52.220" v="1081" actId="478"/>
          <ac:spMkLst>
            <pc:docMk/>
            <pc:sldMk cId="0" sldId="258"/>
            <ac:spMk id="208" creationId="{00000000-0000-0000-0000-000000000000}"/>
          </ac:spMkLst>
        </pc:spChg>
        <pc:spChg chg="del">
          <ac:chgData name="Jiayi Deng" userId="1a00fe64-c1f9-48ee-8835-dcb79118203c" providerId="ADAL" clId="{C5AC4572-7526-4C2E-B9F3-B195E90BCC87}" dt="2023-12-06T10:14:54.323" v="1091" actId="478"/>
          <ac:spMkLst>
            <pc:docMk/>
            <pc:sldMk cId="0" sldId="258"/>
            <ac:spMk id="209" creationId="{00000000-0000-0000-0000-000000000000}"/>
          </ac:spMkLst>
        </pc:spChg>
        <pc:spChg chg="del">
          <ac:chgData name="Jiayi Deng" userId="1a00fe64-c1f9-48ee-8835-dcb79118203c" providerId="ADAL" clId="{C5AC4572-7526-4C2E-B9F3-B195E90BCC87}" dt="2023-12-06T10:14:27.235" v="1042" actId="478"/>
          <ac:spMkLst>
            <pc:docMk/>
            <pc:sldMk cId="0" sldId="258"/>
            <ac:spMk id="210" creationId="{00000000-0000-0000-0000-000000000000}"/>
          </ac:spMkLst>
        </pc:spChg>
        <pc:spChg chg="del">
          <ac:chgData name="Jiayi Deng" userId="1a00fe64-c1f9-48ee-8835-dcb79118203c" providerId="ADAL" clId="{C5AC4572-7526-4C2E-B9F3-B195E90BCC87}" dt="2023-12-06T10:14:28.752" v="1047" actId="478"/>
          <ac:spMkLst>
            <pc:docMk/>
            <pc:sldMk cId="0" sldId="258"/>
            <ac:spMk id="211" creationId="{00000000-0000-0000-0000-000000000000}"/>
          </ac:spMkLst>
        </pc:spChg>
        <pc:spChg chg="del">
          <ac:chgData name="Jiayi Deng" userId="1a00fe64-c1f9-48ee-8835-dcb79118203c" providerId="ADAL" clId="{C5AC4572-7526-4C2E-B9F3-B195E90BCC87}" dt="2023-12-06T10:14:32.320" v="1054" actId="478"/>
          <ac:spMkLst>
            <pc:docMk/>
            <pc:sldMk cId="0" sldId="258"/>
            <ac:spMk id="212" creationId="{00000000-0000-0000-0000-000000000000}"/>
          </ac:spMkLst>
        </pc:spChg>
        <pc:spChg chg="del">
          <ac:chgData name="Jiayi Deng" userId="1a00fe64-c1f9-48ee-8835-dcb79118203c" providerId="ADAL" clId="{C5AC4572-7526-4C2E-B9F3-B195E90BCC87}" dt="2023-12-06T10:14:23.271" v="1032" actId="478"/>
          <ac:spMkLst>
            <pc:docMk/>
            <pc:sldMk cId="0" sldId="258"/>
            <ac:spMk id="213" creationId="{00000000-0000-0000-0000-000000000000}"/>
          </ac:spMkLst>
        </pc:spChg>
        <pc:spChg chg="mod">
          <ac:chgData name="Jiayi Deng" userId="1a00fe64-c1f9-48ee-8835-dcb79118203c" providerId="ADAL" clId="{C5AC4572-7526-4C2E-B9F3-B195E90BCC87}" dt="2023-12-06T09:23:55.084" v="52" actId="1076"/>
          <ac:spMkLst>
            <pc:docMk/>
            <pc:sldMk cId="0" sldId="258"/>
            <ac:spMk id="214" creationId="{00000000-0000-0000-0000-000000000000}"/>
          </ac:spMkLst>
        </pc:spChg>
        <pc:graphicFrameChg chg="add mod ord modVis replST">
          <ac:chgData name="Jiayi Deng" userId="1a00fe64-c1f9-48ee-8835-dcb79118203c" providerId="ADAL" clId="{C5AC4572-7526-4C2E-B9F3-B195E90BCC87}" dt="2023-12-06T10:21:03.010" v="1439"/>
          <ac:graphicFrameMkLst>
            <pc:docMk/>
            <pc:sldMk cId="0" sldId="258"/>
            <ac:graphicFrameMk id="2" creationId="{FC8BC253-94B9-ADB3-A14E-D67E8D214F95}"/>
          </ac:graphicFrameMkLst>
        </pc:graphicFrameChg>
      </pc:sldChg>
      <pc:sldChg chg="addSp modSp mod">
        <pc:chgData name="Jiayi Deng" userId="1a00fe64-c1f9-48ee-8835-dcb79118203c" providerId="ADAL" clId="{C5AC4572-7526-4C2E-B9F3-B195E90BCC87}" dt="2023-12-06T10:53:34.092" v="2755"/>
        <pc:sldMkLst>
          <pc:docMk/>
          <pc:sldMk cId="0" sldId="259"/>
        </pc:sldMkLst>
        <pc:spChg chg="mod">
          <ac:chgData name="Jiayi Deng" userId="1a00fe64-c1f9-48ee-8835-dcb79118203c" providerId="ADAL" clId="{C5AC4572-7526-4C2E-B9F3-B195E90BCC87}" dt="2023-12-06T10:53:33.593" v="2751" actId="20577"/>
          <ac:spMkLst>
            <pc:docMk/>
            <pc:sldMk cId="0" sldId="259"/>
            <ac:spMk id="221" creationId="{00000000-0000-0000-0000-000000000000}"/>
          </ac:spMkLst>
        </pc:spChg>
        <pc:graphicFrameChg chg="add mod ord modVis replST">
          <ac:chgData name="Jiayi Deng" userId="1a00fe64-c1f9-48ee-8835-dcb79118203c" providerId="ADAL" clId="{C5AC4572-7526-4C2E-B9F3-B195E90BCC87}" dt="2023-12-06T10:53:34.092" v="2755"/>
          <ac:graphicFrameMkLst>
            <pc:docMk/>
            <pc:sldMk cId="0" sldId="259"/>
            <ac:graphicFrameMk id="2" creationId="{0C5DA5E3-4C2D-9447-F821-2F869CA302F5}"/>
          </ac:graphicFrameMkLst>
        </pc:graphicFrameChg>
      </pc:sldChg>
      <pc:sldChg chg="addSp modSp mod">
        <pc:chgData name="Jiayi Deng" userId="1a00fe64-c1f9-48ee-8835-dcb79118203c" providerId="ADAL" clId="{C5AC4572-7526-4C2E-B9F3-B195E90BCC87}" dt="2023-12-06T10:53:25.471" v="2709"/>
        <pc:sldMkLst>
          <pc:docMk/>
          <pc:sldMk cId="0" sldId="260"/>
        </pc:sldMkLst>
        <pc:spChg chg="mod">
          <ac:chgData name="Jiayi Deng" userId="1a00fe64-c1f9-48ee-8835-dcb79118203c" providerId="ADAL" clId="{C5AC4572-7526-4C2E-B9F3-B195E90BCC87}" dt="2023-12-06T10:53:24.968" v="2705" actId="20577"/>
          <ac:spMkLst>
            <pc:docMk/>
            <pc:sldMk cId="0" sldId="260"/>
            <ac:spMk id="228" creationId="{00000000-0000-0000-0000-000000000000}"/>
          </ac:spMkLst>
        </pc:spChg>
        <pc:graphicFrameChg chg="add mod ord modVis replST">
          <ac:chgData name="Jiayi Deng" userId="1a00fe64-c1f9-48ee-8835-dcb79118203c" providerId="ADAL" clId="{C5AC4572-7526-4C2E-B9F3-B195E90BCC87}" dt="2023-12-06T10:53:25.471" v="2709"/>
          <ac:graphicFrameMkLst>
            <pc:docMk/>
            <pc:sldMk cId="0" sldId="260"/>
            <ac:graphicFrameMk id="2" creationId="{2B7FF01F-5189-82BC-E0FD-7A46F872E7C2}"/>
          </ac:graphicFrameMkLst>
        </pc:graphicFrameChg>
      </pc:sldChg>
      <pc:sldChg chg="addSp modSp mod">
        <pc:chgData name="Jiayi Deng" userId="1a00fe64-c1f9-48ee-8835-dcb79118203c" providerId="ADAL" clId="{C5AC4572-7526-4C2E-B9F3-B195E90BCC87}" dt="2023-12-06T10:54:02.612" v="2771" actId="1076"/>
        <pc:sldMkLst>
          <pc:docMk/>
          <pc:sldMk cId="0" sldId="261"/>
        </pc:sldMkLst>
        <pc:spChg chg="mod">
          <ac:chgData name="Jiayi Deng" userId="1a00fe64-c1f9-48ee-8835-dcb79118203c" providerId="ADAL" clId="{C5AC4572-7526-4C2E-B9F3-B195E90BCC87}" dt="2023-12-06T10:53:59.064" v="2766" actId="1076"/>
          <ac:spMkLst>
            <pc:docMk/>
            <pc:sldMk cId="0" sldId="261"/>
            <ac:spMk id="233" creationId="{00000000-0000-0000-0000-000000000000}"/>
          </ac:spMkLst>
        </pc:spChg>
        <pc:graphicFrameChg chg="add mod ord modVis replST">
          <ac:chgData name="Jiayi Deng" userId="1a00fe64-c1f9-48ee-8835-dcb79118203c" providerId="ADAL" clId="{C5AC4572-7526-4C2E-B9F3-B195E90BCC87}" dt="2023-12-06T10:53:59.622" v="2770"/>
          <ac:graphicFrameMkLst>
            <pc:docMk/>
            <pc:sldMk cId="0" sldId="261"/>
            <ac:graphicFrameMk id="2" creationId="{4011C31E-DD61-D9F9-E153-CFE58847777C}"/>
          </ac:graphicFrameMkLst>
        </pc:graphicFrameChg>
        <pc:picChg chg="mod">
          <ac:chgData name="Jiayi Deng" userId="1a00fe64-c1f9-48ee-8835-dcb79118203c" providerId="ADAL" clId="{C5AC4572-7526-4C2E-B9F3-B195E90BCC87}" dt="2023-12-06T10:54:02.612" v="2771" actId="1076"/>
          <ac:picMkLst>
            <pc:docMk/>
            <pc:sldMk cId="0" sldId="261"/>
            <ac:picMk id="235" creationId="{00000000-0000-0000-0000-000000000000}"/>
          </ac:picMkLst>
        </pc:picChg>
      </pc:sldChg>
      <pc:sldChg chg="addSp delSp modSp mod">
        <pc:chgData name="Jiayi Deng" userId="1a00fe64-c1f9-48ee-8835-dcb79118203c" providerId="ADAL" clId="{C5AC4572-7526-4C2E-B9F3-B195E90BCC87}" dt="2023-12-07T07:18:45.797" v="6478" actId="1038"/>
        <pc:sldMkLst>
          <pc:docMk/>
          <pc:sldMk cId="0" sldId="263"/>
        </pc:sldMkLst>
        <pc:spChg chg="add mod">
          <ac:chgData name="Jiayi Deng" userId="1a00fe64-c1f9-48ee-8835-dcb79118203c" providerId="ADAL" clId="{C5AC4572-7526-4C2E-B9F3-B195E90BCC87}" dt="2023-12-07T07:18:45.797" v="6478" actId="1038"/>
          <ac:spMkLst>
            <pc:docMk/>
            <pc:sldMk cId="0" sldId="263"/>
            <ac:spMk id="2" creationId="{030E51D6-D271-FD3C-C39E-8E16A28671E0}"/>
          </ac:spMkLst>
        </pc:spChg>
        <pc:spChg chg="mod">
          <ac:chgData name="Jiayi Deng" userId="1a00fe64-c1f9-48ee-8835-dcb79118203c" providerId="ADAL" clId="{C5AC4572-7526-4C2E-B9F3-B195E90BCC87}" dt="2023-12-07T07:16:39.741" v="6449"/>
          <ac:spMkLst>
            <pc:docMk/>
            <pc:sldMk cId="0" sldId="263"/>
            <ac:spMk id="4" creationId="{67B2F2FD-603D-04DA-29EF-D290EEFD5218}"/>
          </ac:spMkLst>
        </pc:spChg>
        <pc:spChg chg="mod">
          <ac:chgData name="Jiayi Deng" userId="1a00fe64-c1f9-48ee-8835-dcb79118203c" providerId="ADAL" clId="{C5AC4572-7526-4C2E-B9F3-B195E90BCC87}" dt="2023-12-07T07:16:39.741" v="6449"/>
          <ac:spMkLst>
            <pc:docMk/>
            <pc:sldMk cId="0" sldId="263"/>
            <ac:spMk id="5" creationId="{D4F4B11F-146E-9C56-EA5C-E2805C654F43}"/>
          </ac:spMkLst>
        </pc:spChg>
        <pc:spChg chg="mod">
          <ac:chgData name="Jiayi Deng" userId="1a00fe64-c1f9-48ee-8835-dcb79118203c" providerId="ADAL" clId="{C5AC4572-7526-4C2E-B9F3-B195E90BCC87}" dt="2023-12-07T07:16:39.741" v="6449"/>
          <ac:spMkLst>
            <pc:docMk/>
            <pc:sldMk cId="0" sldId="263"/>
            <ac:spMk id="6" creationId="{0CD09BE4-1DE6-C72F-6675-22048A27A132}"/>
          </ac:spMkLst>
        </pc:spChg>
        <pc:grpChg chg="add del mod">
          <ac:chgData name="Jiayi Deng" userId="1a00fe64-c1f9-48ee-8835-dcb79118203c" providerId="ADAL" clId="{C5AC4572-7526-4C2E-B9F3-B195E90BCC87}" dt="2023-12-07T07:16:42.906" v="6450" actId="478"/>
          <ac:grpSpMkLst>
            <pc:docMk/>
            <pc:sldMk cId="0" sldId="263"/>
            <ac:grpSpMk id="3" creationId="{3F24BDFB-8223-4876-732D-94340B0FB999}"/>
          </ac:grpSpMkLst>
        </pc:grpChg>
        <pc:picChg chg="add mod">
          <ac:chgData name="Jiayi Deng" userId="1a00fe64-c1f9-48ee-8835-dcb79118203c" providerId="ADAL" clId="{C5AC4572-7526-4C2E-B9F3-B195E90BCC87}" dt="2023-12-07T07:18:45.797" v="6478" actId="1038"/>
          <ac:picMkLst>
            <pc:docMk/>
            <pc:sldMk cId="0" sldId="263"/>
            <ac:picMk id="8" creationId="{53EC0D38-4F81-5A2C-EC63-8F5552843FF8}"/>
          </ac:picMkLst>
        </pc:picChg>
        <pc:picChg chg="del mod">
          <ac:chgData name="Jiayi Deng" userId="1a00fe64-c1f9-48ee-8835-dcb79118203c" providerId="ADAL" clId="{C5AC4572-7526-4C2E-B9F3-B195E90BCC87}" dt="2023-12-07T07:03:15.390" v="5721" actId="478"/>
          <ac:picMkLst>
            <pc:docMk/>
            <pc:sldMk cId="0" sldId="263"/>
            <ac:picMk id="10" creationId="{534E788F-08AB-B09B-E0A5-C87867DF3B66}"/>
          </ac:picMkLst>
        </pc:picChg>
        <pc:picChg chg="add mod">
          <ac:chgData name="Jiayi Deng" userId="1a00fe64-c1f9-48ee-8835-dcb79118203c" providerId="ADAL" clId="{C5AC4572-7526-4C2E-B9F3-B195E90BCC87}" dt="2023-12-07T07:18:45.797" v="6478" actId="1038"/>
          <ac:picMkLst>
            <pc:docMk/>
            <pc:sldMk cId="0" sldId="263"/>
            <ac:picMk id="11" creationId="{84D6B481-8BFB-A75E-7786-F6E72BEA1D96}"/>
          </ac:picMkLst>
        </pc:picChg>
        <pc:picChg chg="add mod">
          <ac:chgData name="Jiayi Deng" userId="1a00fe64-c1f9-48ee-8835-dcb79118203c" providerId="ADAL" clId="{C5AC4572-7526-4C2E-B9F3-B195E90BCC87}" dt="2023-12-07T07:18:45.797" v="6478" actId="1038"/>
          <ac:picMkLst>
            <pc:docMk/>
            <pc:sldMk cId="0" sldId="263"/>
            <ac:picMk id="13" creationId="{939AE9E1-6132-1989-C36E-73E148396560}"/>
          </ac:picMkLst>
        </pc:picChg>
        <pc:picChg chg="add mod">
          <ac:chgData name="Jiayi Deng" userId="1a00fe64-c1f9-48ee-8835-dcb79118203c" providerId="ADAL" clId="{C5AC4572-7526-4C2E-B9F3-B195E90BCC87}" dt="2023-12-07T07:18:45.797" v="6478" actId="1038"/>
          <ac:picMkLst>
            <pc:docMk/>
            <pc:sldMk cId="0" sldId="263"/>
            <ac:picMk id="15" creationId="{93284AD4-FE8C-A177-E46C-7EEF39943E85}"/>
          </ac:picMkLst>
        </pc:picChg>
      </pc:sldChg>
      <pc:sldChg chg="addSp delSp modSp mod ord modClrScheme chgLayout">
        <pc:chgData name="Jiayi Deng" userId="1a00fe64-c1f9-48ee-8835-dcb79118203c" providerId="ADAL" clId="{C5AC4572-7526-4C2E-B9F3-B195E90BCC87}" dt="2023-12-06T11:00:02.781" v="2968" actId="20577"/>
        <pc:sldMkLst>
          <pc:docMk/>
          <pc:sldMk cId="0" sldId="264"/>
        </pc:sldMkLst>
        <pc:spChg chg="add del mod ord">
          <ac:chgData name="Jiayi Deng" userId="1a00fe64-c1f9-48ee-8835-dcb79118203c" providerId="ADAL" clId="{C5AC4572-7526-4C2E-B9F3-B195E90BCC87}" dt="2023-12-06T10:55:20.856" v="2819" actId="478"/>
          <ac:spMkLst>
            <pc:docMk/>
            <pc:sldMk cId="0" sldId="264"/>
            <ac:spMk id="3" creationId="{A9E2D7AE-1AA0-9AE3-230A-6186343D1D67}"/>
          </ac:spMkLst>
        </pc:spChg>
        <pc:spChg chg="mod ord">
          <ac:chgData name="Jiayi Deng" userId="1a00fe64-c1f9-48ee-8835-dcb79118203c" providerId="ADAL" clId="{C5AC4572-7526-4C2E-B9F3-B195E90BCC87}" dt="2023-12-06T10:50:34.972" v="2602" actId="120"/>
          <ac:spMkLst>
            <pc:docMk/>
            <pc:sldMk cId="0" sldId="264"/>
            <ac:spMk id="293" creationId="{00000000-0000-0000-0000-000000000000}"/>
          </ac:spMkLst>
        </pc:spChg>
        <pc:graphicFrameChg chg="add mod ord modVis replST">
          <ac:chgData name="Jiayi Deng" userId="1a00fe64-c1f9-48ee-8835-dcb79118203c" providerId="ADAL" clId="{C5AC4572-7526-4C2E-B9F3-B195E90BCC87}" dt="2023-12-06T10:50:35.467" v="2606"/>
          <ac:graphicFrameMkLst>
            <pc:docMk/>
            <pc:sldMk cId="0" sldId="264"/>
            <ac:graphicFrameMk id="2" creationId="{14D8EC45-D1A8-25E3-ABE5-A23FDFE4E84A}"/>
          </ac:graphicFrameMkLst>
        </pc:graphicFrameChg>
        <pc:graphicFrameChg chg="mod modGraphic">
          <ac:chgData name="Jiayi Deng" userId="1a00fe64-c1f9-48ee-8835-dcb79118203c" providerId="ADAL" clId="{C5AC4572-7526-4C2E-B9F3-B195E90BCC87}" dt="2023-12-06T11:00:02.781" v="2968" actId="20577"/>
          <ac:graphicFrameMkLst>
            <pc:docMk/>
            <pc:sldMk cId="0" sldId="264"/>
            <ac:graphicFrameMk id="14" creationId="{637BD348-5429-9306-8A9A-14F4929156F6}"/>
          </ac:graphicFrameMkLst>
        </pc:graphicFrameChg>
      </pc:sldChg>
      <pc:sldChg chg="addSp modSp mod">
        <pc:chgData name="Jiayi Deng" userId="1a00fe64-c1f9-48ee-8835-dcb79118203c" providerId="ADAL" clId="{C5AC4572-7526-4C2E-B9F3-B195E90BCC87}" dt="2023-12-06T10:54:16.753" v="2776"/>
        <pc:sldMkLst>
          <pc:docMk/>
          <pc:sldMk cId="0" sldId="266"/>
        </pc:sldMkLst>
        <pc:spChg chg="mod">
          <ac:chgData name="Jiayi Deng" userId="1a00fe64-c1f9-48ee-8835-dcb79118203c" providerId="ADAL" clId="{C5AC4572-7526-4C2E-B9F3-B195E90BCC87}" dt="2023-12-06T10:54:16.213" v="2772" actId="255"/>
          <ac:spMkLst>
            <pc:docMk/>
            <pc:sldMk cId="0" sldId="266"/>
            <ac:spMk id="315" creationId="{00000000-0000-0000-0000-000000000000}"/>
          </ac:spMkLst>
        </pc:spChg>
        <pc:graphicFrameChg chg="add mod ord modVis replST">
          <ac:chgData name="Jiayi Deng" userId="1a00fe64-c1f9-48ee-8835-dcb79118203c" providerId="ADAL" clId="{C5AC4572-7526-4C2E-B9F3-B195E90BCC87}" dt="2023-12-06T10:54:16.753" v="2776"/>
          <ac:graphicFrameMkLst>
            <pc:docMk/>
            <pc:sldMk cId="0" sldId="266"/>
            <ac:graphicFrameMk id="2" creationId="{A3D88D18-E1AF-7F3A-F8CA-03CF8C9EA569}"/>
          </ac:graphicFrameMkLst>
        </pc:graphicFrameChg>
      </pc:sldChg>
      <pc:sldChg chg="del">
        <pc:chgData name="Jiayi Deng" userId="1a00fe64-c1f9-48ee-8835-dcb79118203c" providerId="ADAL" clId="{C5AC4572-7526-4C2E-B9F3-B195E90BCC87}" dt="2023-12-06T10:23:03.131" v="1440" actId="47"/>
        <pc:sldMkLst>
          <pc:docMk/>
          <pc:sldMk cId="0" sldId="271"/>
        </pc:sldMkLst>
      </pc:sldChg>
      <pc:sldChg chg="del">
        <pc:chgData name="Jiayi Deng" userId="1a00fe64-c1f9-48ee-8835-dcb79118203c" providerId="ADAL" clId="{C5AC4572-7526-4C2E-B9F3-B195E90BCC87}" dt="2023-12-06T10:23:56.891" v="1503" actId="2696"/>
        <pc:sldMkLst>
          <pc:docMk/>
          <pc:sldMk cId="1617173535" sldId="272"/>
        </pc:sldMkLst>
        <pc:spChg chg="mod">
          <ac:chgData name="Jiayi Deng" userId="1a00fe64-c1f9-48ee-8835-dcb79118203c" providerId="ADAL" clId="{C5AC4572-7526-4C2E-B9F3-B195E90BCC87}" dt="2023-12-06T10:54:31.922" v="2798" actId="20577"/>
          <ac:spMkLst>
            <pc:docMk/>
            <pc:sldMk cId="1617173535" sldId="272"/>
            <ac:spMk id="547" creationId="{00000000-0000-0000-0000-000000000000}"/>
          </ac:spMkLst>
        </pc:spChg>
        <pc:graphicFrameChg chg="add mod ord modVis replST">
          <ac:chgData name="Jiayi Deng" userId="1a00fe64-c1f9-48ee-8835-dcb79118203c" providerId="ADAL" clId="{C5AC4572-7526-4C2E-B9F3-B195E90BCC87}" dt="2023-12-06T10:54:32.420" v="2802"/>
          <ac:graphicFrameMkLst>
            <pc:docMk/>
            <pc:sldMk cId="1617173535" sldId="272"/>
            <ac:graphicFrameMk id="2" creationId="{7F475A40-540F-FAEC-E3C2-F82DEA71A170}"/>
          </ac:graphicFrameMkLst>
        </pc:graphicFrameChg>
      </pc:sldChg>
      <pc:sldChg chg="addSp delSp modSp del mod">
        <pc:chgData name="Jiayi Deng" userId="1a00fe64-c1f9-48ee-8835-dcb79118203c" providerId="ADAL" clId="{C5AC4572-7526-4C2E-B9F3-B195E90BCC87}" dt="2023-12-06T10:24:34.086" v="1559" actId="47"/>
        <pc:sldMkLst>
          <pc:docMk/>
          <pc:sldMk cId="0" sldId="281"/>
        </pc:sldMkLst>
        <pc:spChg chg="add del mod">
          <ac:chgData name="Jiayi Deng" userId="1a00fe64-c1f9-48ee-8835-dcb79118203c" providerId="ADAL" clId="{C5AC4572-7526-4C2E-B9F3-B195E90BCC87}" dt="2023-12-06T10:23:24.372" v="1442" actId="478"/>
          <ac:spMkLst>
            <pc:docMk/>
            <pc:sldMk cId="0" sldId="281"/>
            <ac:spMk id="3" creationId="{CAA704FD-339D-37A6-1F4A-CD15FB36AB35}"/>
          </ac:spMkLst>
        </pc:spChg>
        <pc:spChg chg="del">
          <ac:chgData name="Jiayi Deng" userId="1a00fe64-c1f9-48ee-8835-dcb79118203c" providerId="ADAL" clId="{C5AC4572-7526-4C2E-B9F3-B195E90BCC87}" dt="2023-12-06T10:23:23.004" v="1441" actId="478"/>
          <ac:spMkLst>
            <pc:docMk/>
            <pc:sldMk cId="0" sldId="281"/>
            <ac:spMk id="836" creationId="{00000000-0000-0000-0000-000000000000}"/>
          </ac:spMkLst>
        </pc:spChg>
      </pc:sldChg>
      <pc:sldChg chg="addSp delSp modSp add mod">
        <pc:chgData name="Jiayi Deng" userId="1a00fe64-c1f9-48ee-8835-dcb79118203c" providerId="ADAL" clId="{C5AC4572-7526-4C2E-B9F3-B195E90BCC87}" dt="2023-12-06T10:54:46.829" v="2812"/>
        <pc:sldMkLst>
          <pc:docMk/>
          <pc:sldMk cId="4076952846" sldId="285"/>
        </pc:sldMkLst>
        <pc:spChg chg="add del mod">
          <ac:chgData name="Jiayi Deng" userId="1a00fe64-c1f9-48ee-8835-dcb79118203c" providerId="ADAL" clId="{C5AC4572-7526-4C2E-B9F3-B195E90BCC87}" dt="2023-12-06T10:24:59.721" v="1561" actId="478"/>
          <ac:spMkLst>
            <pc:docMk/>
            <pc:sldMk cId="4076952846" sldId="285"/>
            <ac:spMk id="3" creationId="{6BC6A0B0-BBCD-AED5-C843-BF3EA9F9E006}"/>
          </ac:spMkLst>
        </pc:spChg>
        <pc:spChg chg="mod">
          <ac:chgData name="Jiayi Deng" userId="1a00fe64-c1f9-48ee-8835-dcb79118203c" providerId="ADAL" clId="{C5AC4572-7526-4C2E-B9F3-B195E90BCC87}" dt="2023-12-06T10:54:46.290" v="2808" actId="255"/>
          <ac:spMkLst>
            <pc:docMk/>
            <pc:sldMk cId="4076952846" sldId="285"/>
            <ac:spMk id="900" creationId="{00000000-0000-0000-0000-000000000000}"/>
          </ac:spMkLst>
        </pc:spChg>
        <pc:spChg chg="del">
          <ac:chgData name="Jiayi Deng" userId="1a00fe64-c1f9-48ee-8835-dcb79118203c" providerId="ADAL" clId="{C5AC4572-7526-4C2E-B9F3-B195E90BCC87}" dt="2023-12-06T10:24:58.607" v="1560" actId="478"/>
          <ac:spMkLst>
            <pc:docMk/>
            <pc:sldMk cId="4076952846" sldId="285"/>
            <ac:spMk id="901" creationId="{00000000-0000-0000-0000-000000000000}"/>
          </ac:spMkLst>
        </pc:spChg>
        <pc:graphicFrameChg chg="add mod ord modVis replST">
          <ac:chgData name="Jiayi Deng" userId="1a00fe64-c1f9-48ee-8835-dcb79118203c" providerId="ADAL" clId="{C5AC4572-7526-4C2E-B9F3-B195E90BCC87}" dt="2023-12-06T10:54:46.829" v="2812"/>
          <ac:graphicFrameMkLst>
            <pc:docMk/>
            <pc:sldMk cId="4076952846" sldId="285"/>
            <ac:graphicFrameMk id="4" creationId="{953B621D-69ED-E842-0E17-8D09508AD7B5}"/>
          </ac:graphicFrameMkLst>
        </pc:graphicFrameChg>
      </pc:sldChg>
      <pc:sldChg chg="addSp delSp modSp del mod ord modCm modNotesTx">
        <pc:chgData name="Jiayi Deng" userId="1a00fe64-c1f9-48ee-8835-dcb79118203c" providerId="ADAL" clId="{C5AC4572-7526-4C2E-B9F3-B195E90BCC87}" dt="2023-12-07T05:07:37.158" v="3561" actId="47"/>
        <pc:sldMkLst>
          <pc:docMk/>
          <pc:sldMk cId="0" sldId="286"/>
        </pc:sldMkLst>
        <pc:spChg chg="add del">
          <ac:chgData name="Jiayi Deng" userId="1a00fe64-c1f9-48ee-8835-dcb79118203c" providerId="ADAL" clId="{C5AC4572-7526-4C2E-B9F3-B195E90BCC87}" dt="2023-12-07T05:00:01.873" v="3412" actId="478"/>
          <ac:spMkLst>
            <pc:docMk/>
            <pc:sldMk cId="0" sldId="286"/>
            <ac:spMk id="3" creationId="{25918BED-9CFA-C926-D115-EB2674FDA1DA}"/>
          </ac:spMkLst>
        </pc:spChg>
        <pc:spChg chg="add del mod">
          <ac:chgData name="Jiayi Deng" userId="1a00fe64-c1f9-48ee-8835-dcb79118203c" providerId="ADAL" clId="{C5AC4572-7526-4C2E-B9F3-B195E90BCC87}" dt="2023-12-06T10:59:02.032" v="2898"/>
          <ac:spMkLst>
            <pc:docMk/>
            <pc:sldMk cId="0" sldId="286"/>
            <ac:spMk id="4" creationId="{AE882710-7041-99BA-AF63-A81A8E0387AD}"/>
          </ac:spMkLst>
        </pc:spChg>
        <pc:spChg chg="mod">
          <ac:chgData name="Jiayi Deng" userId="1a00fe64-c1f9-48ee-8835-dcb79118203c" providerId="ADAL" clId="{C5AC4572-7526-4C2E-B9F3-B195E90BCC87}" dt="2023-12-06T10:57:50.006" v="2888" actId="20577"/>
          <ac:spMkLst>
            <pc:docMk/>
            <pc:sldMk cId="0" sldId="286"/>
            <ac:spMk id="950" creationId="{00000000-0000-0000-0000-000000000000}"/>
          </ac:spMkLst>
        </pc:spChg>
        <pc:graphicFrameChg chg="add mod ord modVis replST">
          <ac:chgData name="Jiayi Deng" userId="1a00fe64-c1f9-48ee-8835-dcb79118203c" providerId="ADAL" clId="{C5AC4572-7526-4C2E-B9F3-B195E90BCC87}" dt="2023-12-06T10:57:50.517" v="2892"/>
          <ac:graphicFrameMkLst>
            <pc:docMk/>
            <pc:sldMk cId="0" sldId="286"/>
            <ac:graphicFrameMk id="2" creationId="{91A07465-33B4-82B1-DF16-43665FBE136F}"/>
          </ac:graphicFrameMkLst>
        </pc:graphicFrameChg>
        <pc:picChg chg="add mod">
          <ac:chgData name="Jiayi Deng" userId="1a00fe64-c1f9-48ee-8835-dcb79118203c" providerId="ADAL" clId="{C5AC4572-7526-4C2E-B9F3-B195E90BCC87}" dt="2023-12-06T11:02:45.091" v="2976" actId="1076"/>
          <ac:picMkLst>
            <pc:docMk/>
            <pc:sldMk cId="0" sldId="286"/>
            <ac:picMk id="5" creationId="{924AAAB2-634C-2808-3155-DE16D82EE3C6}"/>
          </ac:picMkLst>
        </pc:picChg>
        <pc:picChg chg="add del mod">
          <ac:chgData name="Jiayi Deng" userId="1a00fe64-c1f9-48ee-8835-dcb79118203c" providerId="ADAL" clId="{C5AC4572-7526-4C2E-B9F3-B195E90BCC87}" dt="2023-12-06T11:10:15.585" v="3076" actId="21"/>
          <ac:picMkLst>
            <pc:docMk/>
            <pc:sldMk cId="0" sldId="286"/>
            <ac:picMk id="6" creationId="{344FD0ED-E739-4A7C-674A-91B63A322576}"/>
          </ac:picMkLst>
        </pc:picChg>
      </pc:sldChg>
      <pc:sldChg chg="addSp delSp modSp mod">
        <pc:chgData name="Jiayi Deng" userId="1a00fe64-c1f9-48ee-8835-dcb79118203c" providerId="ADAL" clId="{C5AC4572-7526-4C2E-B9F3-B195E90BCC87}" dt="2023-12-06T10:54:52.118" v="2817"/>
        <pc:sldMkLst>
          <pc:docMk/>
          <pc:sldMk cId="2447905169" sldId="288"/>
        </pc:sldMkLst>
        <pc:spChg chg="add del mod">
          <ac:chgData name="Jiayi Deng" userId="1a00fe64-c1f9-48ee-8835-dcb79118203c" providerId="ADAL" clId="{C5AC4572-7526-4C2E-B9F3-B195E90BCC87}" dt="2023-12-06T10:26:04.367" v="1693" actId="478"/>
          <ac:spMkLst>
            <pc:docMk/>
            <pc:sldMk cId="2447905169" sldId="288"/>
            <ac:spMk id="3" creationId="{D04AD715-257F-38E2-5013-689A415BBB3D}"/>
          </ac:spMkLst>
        </pc:spChg>
        <pc:spChg chg="mod">
          <ac:chgData name="Jiayi Deng" userId="1a00fe64-c1f9-48ee-8835-dcb79118203c" providerId="ADAL" clId="{C5AC4572-7526-4C2E-B9F3-B195E90BCC87}" dt="2023-12-06T10:54:51.594" v="2813" actId="255"/>
          <ac:spMkLst>
            <pc:docMk/>
            <pc:sldMk cId="2447905169" sldId="288"/>
            <ac:spMk id="962" creationId="{00000000-0000-0000-0000-000000000000}"/>
          </ac:spMkLst>
        </pc:spChg>
        <pc:spChg chg="del">
          <ac:chgData name="Jiayi Deng" userId="1a00fe64-c1f9-48ee-8835-dcb79118203c" providerId="ADAL" clId="{C5AC4572-7526-4C2E-B9F3-B195E90BCC87}" dt="2023-12-06T10:26:03.301" v="1692" actId="478"/>
          <ac:spMkLst>
            <pc:docMk/>
            <pc:sldMk cId="2447905169" sldId="288"/>
            <ac:spMk id="963" creationId="{00000000-0000-0000-0000-000000000000}"/>
          </ac:spMkLst>
        </pc:spChg>
        <pc:graphicFrameChg chg="add mod ord modVis replST">
          <ac:chgData name="Jiayi Deng" userId="1a00fe64-c1f9-48ee-8835-dcb79118203c" providerId="ADAL" clId="{C5AC4572-7526-4C2E-B9F3-B195E90BCC87}" dt="2023-12-06T10:54:52.118" v="2817"/>
          <ac:graphicFrameMkLst>
            <pc:docMk/>
            <pc:sldMk cId="2447905169" sldId="288"/>
            <ac:graphicFrameMk id="4" creationId="{8E7B1535-CA0A-9974-055E-5C06B5BC5496}"/>
          </ac:graphicFrameMkLst>
        </pc:graphicFrameChg>
      </pc:sldChg>
      <pc:sldChg chg="addSp modSp del mod ord">
        <pc:chgData name="Jiayi Deng" userId="1a00fe64-c1f9-48ee-8835-dcb79118203c" providerId="ADAL" clId="{C5AC4572-7526-4C2E-B9F3-B195E90BCC87}" dt="2023-12-07T05:24:55.325" v="3854" actId="2696"/>
        <pc:sldMkLst>
          <pc:docMk/>
          <pc:sldMk cId="2667141659" sldId="295"/>
        </pc:sldMkLst>
        <pc:spChg chg="mod">
          <ac:chgData name="Jiayi Deng" userId="1a00fe64-c1f9-48ee-8835-dcb79118203c" providerId="ADAL" clId="{C5AC4572-7526-4C2E-B9F3-B195E90BCC87}" dt="2023-12-06T10:48:25.832" v="2523" actId="115"/>
          <ac:spMkLst>
            <pc:docMk/>
            <pc:sldMk cId="2667141659" sldId="295"/>
            <ac:spMk id="1300" creationId="{00000000-0000-0000-0000-000000000000}"/>
          </ac:spMkLst>
        </pc:spChg>
        <pc:spChg chg="mod">
          <ac:chgData name="Jiayi Deng" userId="1a00fe64-c1f9-48ee-8835-dcb79118203c" providerId="ADAL" clId="{C5AC4572-7526-4C2E-B9F3-B195E90BCC87}" dt="2023-12-06T10:26:52.735" v="1797" actId="20577"/>
          <ac:spMkLst>
            <pc:docMk/>
            <pc:sldMk cId="2667141659" sldId="295"/>
            <ac:spMk id="1301" creationId="{00000000-0000-0000-0000-000000000000}"/>
          </ac:spMkLst>
        </pc:spChg>
        <pc:graphicFrameChg chg="add mod ord modVis replST">
          <ac:chgData name="Jiayi Deng" userId="1a00fe64-c1f9-48ee-8835-dcb79118203c" providerId="ADAL" clId="{C5AC4572-7526-4C2E-B9F3-B195E90BCC87}" dt="2023-12-06T10:26:53.284" v="1801"/>
          <ac:graphicFrameMkLst>
            <pc:docMk/>
            <pc:sldMk cId="2667141659" sldId="295"/>
            <ac:graphicFrameMk id="2" creationId="{51D90908-BE1F-B81E-78AB-26774FAE7A59}"/>
          </ac:graphicFrameMkLst>
        </pc:graphicFrameChg>
      </pc:sldChg>
      <pc:sldChg chg="addSp delSp modSp mod modClrScheme chgLayout">
        <pc:chgData name="Jiayi Deng" userId="1a00fe64-c1f9-48ee-8835-dcb79118203c" providerId="ADAL" clId="{C5AC4572-7526-4C2E-B9F3-B195E90BCC87}" dt="2023-12-07T07:33:33.630" v="7212" actId="1076"/>
        <pc:sldMkLst>
          <pc:docMk/>
          <pc:sldMk cId="3208453393" sldId="314"/>
        </pc:sldMkLst>
        <pc:spChg chg="mod">
          <ac:chgData name="Jiayi Deng" userId="1a00fe64-c1f9-48ee-8835-dcb79118203c" providerId="ADAL" clId="{C5AC4572-7526-4C2E-B9F3-B195E90BCC87}" dt="2023-12-07T07:33:01.760" v="7188" actId="14100"/>
          <ac:spMkLst>
            <pc:docMk/>
            <pc:sldMk cId="3208453393" sldId="314"/>
            <ac:spMk id="4" creationId="{59F4687A-425D-7F77-AE64-3CF62722481A}"/>
          </ac:spMkLst>
        </pc:spChg>
        <pc:spChg chg="mod">
          <ac:chgData name="Jiayi Deng" userId="1a00fe64-c1f9-48ee-8835-dcb79118203c" providerId="ADAL" clId="{C5AC4572-7526-4C2E-B9F3-B195E90BCC87}" dt="2023-12-07T07:33:02.215" v="7189" actId="14100"/>
          <ac:spMkLst>
            <pc:docMk/>
            <pc:sldMk cId="3208453393" sldId="314"/>
            <ac:spMk id="5" creationId="{8CB68A69-DCB4-DC61-D2D4-4D60718B9108}"/>
          </ac:spMkLst>
        </pc:spChg>
        <pc:spChg chg="mod">
          <ac:chgData name="Jiayi Deng" userId="1a00fe64-c1f9-48ee-8835-dcb79118203c" providerId="ADAL" clId="{C5AC4572-7526-4C2E-B9F3-B195E90BCC87}" dt="2023-12-07T06:02:47.326" v="4481" actId="20577"/>
          <ac:spMkLst>
            <pc:docMk/>
            <pc:sldMk cId="3208453393" sldId="314"/>
            <ac:spMk id="6" creationId="{F3B68241-B064-59B9-E6B3-2B5540FA9E0C}"/>
          </ac:spMkLst>
        </pc:spChg>
        <pc:spChg chg="mod">
          <ac:chgData name="Jiayi Deng" userId="1a00fe64-c1f9-48ee-8835-dcb79118203c" providerId="ADAL" clId="{C5AC4572-7526-4C2E-B9F3-B195E90BCC87}" dt="2023-12-07T05:58:11.970" v="4276" actId="207"/>
          <ac:spMkLst>
            <pc:docMk/>
            <pc:sldMk cId="3208453393" sldId="314"/>
            <ac:spMk id="7" creationId="{C63F9D7B-28C6-0352-57E9-68CF7C298F90}"/>
          </ac:spMkLst>
        </pc:spChg>
        <pc:spChg chg="del mod">
          <ac:chgData name="Jiayi Deng" userId="1a00fe64-c1f9-48ee-8835-dcb79118203c" providerId="ADAL" clId="{C5AC4572-7526-4C2E-B9F3-B195E90BCC87}" dt="2023-12-07T05:59:30.394" v="4296" actId="478"/>
          <ac:spMkLst>
            <pc:docMk/>
            <pc:sldMk cId="3208453393" sldId="314"/>
            <ac:spMk id="9" creationId="{6DD820CA-A699-8204-67F3-9AB5FB2DBCDF}"/>
          </ac:spMkLst>
        </pc:spChg>
        <pc:spChg chg="add mod">
          <ac:chgData name="Jiayi Deng" userId="1a00fe64-c1f9-48ee-8835-dcb79118203c" providerId="ADAL" clId="{C5AC4572-7526-4C2E-B9F3-B195E90BCC87}" dt="2023-12-07T06:38:25.694" v="5365" actId="1037"/>
          <ac:spMkLst>
            <pc:docMk/>
            <pc:sldMk cId="3208453393" sldId="314"/>
            <ac:spMk id="10" creationId="{2E64ABFB-E9BD-46B2-5E31-EFE8D663E3BB}"/>
          </ac:spMkLst>
        </pc:spChg>
        <pc:spChg chg="del mod">
          <ac:chgData name="Jiayi Deng" userId="1a00fe64-c1f9-48ee-8835-dcb79118203c" providerId="ADAL" clId="{C5AC4572-7526-4C2E-B9F3-B195E90BCC87}" dt="2023-12-07T05:59:50.893" v="4437" actId="478"/>
          <ac:spMkLst>
            <pc:docMk/>
            <pc:sldMk cId="3208453393" sldId="314"/>
            <ac:spMk id="10" creationId="{37F35E2F-B74E-15E3-255C-EFE337528833}"/>
          </ac:spMkLst>
        </pc:spChg>
        <pc:spChg chg="add mod ord">
          <ac:chgData name="Jiayi Deng" userId="1a00fe64-c1f9-48ee-8835-dcb79118203c" providerId="ADAL" clId="{C5AC4572-7526-4C2E-B9F3-B195E90BCC87}" dt="2023-12-07T06:01:29.489" v="4444"/>
          <ac:spMkLst>
            <pc:docMk/>
            <pc:sldMk cId="3208453393" sldId="314"/>
            <ac:spMk id="11" creationId="{88DB3CB2-6BE8-C296-CF8A-6B822229B037}"/>
          </ac:spMkLst>
        </pc:spChg>
        <pc:spChg chg="add del mod ord">
          <ac:chgData name="Jiayi Deng" userId="1a00fe64-c1f9-48ee-8835-dcb79118203c" providerId="ADAL" clId="{C5AC4572-7526-4C2E-B9F3-B195E90BCC87}" dt="2023-12-07T05:59:53.168" v="4438" actId="478"/>
          <ac:spMkLst>
            <pc:docMk/>
            <pc:sldMk cId="3208453393" sldId="314"/>
            <ac:spMk id="12" creationId="{92174136-1CD8-1173-2A35-BF79FE632431}"/>
          </ac:spMkLst>
        </pc:spChg>
        <pc:spChg chg="add mod">
          <ac:chgData name="Jiayi Deng" userId="1a00fe64-c1f9-48ee-8835-dcb79118203c" providerId="ADAL" clId="{C5AC4572-7526-4C2E-B9F3-B195E90BCC87}" dt="2023-12-07T06:38:25.694" v="5365" actId="1037"/>
          <ac:spMkLst>
            <pc:docMk/>
            <pc:sldMk cId="3208453393" sldId="314"/>
            <ac:spMk id="12" creationId="{B307C6F2-6323-9E16-4BA8-7D15061E5965}"/>
          </ac:spMkLst>
        </pc:spChg>
        <pc:spChg chg="add mod">
          <ac:chgData name="Jiayi Deng" userId="1a00fe64-c1f9-48ee-8835-dcb79118203c" providerId="ADAL" clId="{C5AC4572-7526-4C2E-B9F3-B195E90BCC87}" dt="2023-12-07T07:31:47.422" v="7144" actId="1076"/>
          <ac:spMkLst>
            <pc:docMk/>
            <pc:sldMk cId="3208453393" sldId="314"/>
            <ac:spMk id="14" creationId="{10170077-D76A-82E7-95EE-2231ED11924A}"/>
          </ac:spMkLst>
        </pc:spChg>
        <pc:spChg chg="add del mod modVis">
          <ac:chgData name="Jiayi Deng" userId="1a00fe64-c1f9-48ee-8835-dcb79118203c" providerId="ADAL" clId="{C5AC4572-7526-4C2E-B9F3-B195E90BCC87}" dt="2023-12-07T05:59:44.363" v="4369"/>
          <ac:spMkLst>
            <pc:docMk/>
            <pc:sldMk cId="3208453393" sldId="314"/>
            <ac:spMk id="14" creationId="{46CA0D13-F688-304E-2DF2-33F4F37F5BB3}"/>
          </ac:spMkLst>
        </pc:spChg>
        <pc:spChg chg="add mod">
          <ac:chgData name="Jiayi Deng" userId="1a00fe64-c1f9-48ee-8835-dcb79118203c" providerId="ADAL" clId="{C5AC4572-7526-4C2E-B9F3-B195E90BCC87}" dt="2023-12-07T07:33:33.630" v="7212" actId="1076"/>
          <ac:spMkLst>
            <pc:docMk/>
            <pc:sldMk cId="3208453393" sldId="314"/>
            <ac:spMk id="15" creationId="{1A319679-BBDF-5DAC-5C21-22B8D4D02B01}"/>
          </ac:spMkLst>
        </pc:spChg>
        <pc:spChg chg="add del mod modVis">
          <ac:chgData name="Jiayi Deng" userId="1a00fe64-c1f9-48ee-8835-dcb79118203c" providerId="ADAL" clId="{C5AC4572-7526-4C2E-B9F3-B195E90BCC87}" dt="2023-12-07T05:59:45.311" v="4398"/>
          <ac:spMkLst>
            <pc:docMk/>
            <pc:sldMk cId="3208453393" sldId="314"/>
            <ac:spMk id="15" creationId="{D13FC1FB-E62B-30A6-4946-F89B160C3E0A}"/>
          </ac:spMkLst>
        </pc:spChg>
        <pc:spChg chg="add del mod modVis">
          <ac:chgData name="Jiayi Deng" userId="1a00fe64-c1f9-48ee-8835-dcb79118203c" providerId="ADAL" clId="{C5AC4572-7526-4C2E-B9F3-B195E90BCC87}" dt="2023-12-07T05:59:47.940" v="4434"/>
          <ac:spMkLst>
            <pc:docMk/>
            <pc:sldMk cId="3208453393" sldId="314"/>
            <ac:spMk id="16" creationId="{D4BEDAB3-BB67-C53B-5088-7E3634927536}"/>
          </ac:spMkLst>
        </pc:spChg>
        <pc:spChg chg="add mod">
          <ac:chgData name="Jiayi Deng" userId="1a00fe64-c1f9-48ee-8835-dcb79118203c" providerId="ADAL" clId="{C5AC4572-7526-4C2E-B9F3-B195E90BCC87}" dt="2023-12-07T06:38:25.694" v="5365" actId="1037"/>
          <ac:spMkLst>
            <pc:docMk/>
            <pc:sldMk cId="3208453393" sldId="314"/>
            <ac:spMk id="17" creationId="{445F5764-E96A-7E96-6980-373DEE37AE02}"/>
          </ac:spMkLst>
        </pc:spChg>
        <pc:spChg chg="add mod">
          <ac:chgData name="Jiayi Deng" userId="1a00fe64-c1f9-48ee-8835-dcb79118203c" providerId="ADAL" clId="{C5AC4572-7526-4C2E-B9F3-B195E90BCC87}" dt="2023-12-07T06:38:25.694" v="5365" actId="1037"/>
          <ac:spMkLst>
            <pc:docMk/>
            <pc:sldMk cId="3208453393" sldId="314"/>
            <ac:spMk id="18" creationId="{8F5F4FB2-8478-A3D2-A601-79C050C5C64F}"/>
          </ac:spMkLst>
        </pc:spChg>
        <pc:spChg chg="add del mod">
          <ac:chgData name="Jiayi Deng" userId="1a00fe64-c1f9-48ee-8835-dcb79118203c" providerId="ADAL" clId="{C5AC4572-7526-4C2E-B9F3-B195E90BCC87}" dt="2023-12-07T06:05:10.551" v="4501" actId="478"/>
          <ac:spMkLst>
            <pc:docMk/>
            <pc:sldMk cId="3208453393" sldId="314"/>
            <ac:spMk id="19" creationId="{D227D0AE-CFD7-BB37-C266-3D76E724005D}"/>
          </ac:spMkLst>
        </pc:spChg>
        <pc:grpChg chg="add mod">
          <ac:chgData name="Jiayi Deng" userId="1a00fe64-c1f9-48ee-8835-dcb79118203c" providerId="ADAL" clId="{C5AC4572-7526-4C2E-B9F3-B195E90BCC87}" dt="2023-12-07T06:38:25.694" v="5365" actId="1037"/>
          <ac:grpSpMkLst>
            <pc:docMk/>
            <pc:sldMk cId="3208453393" sldId="314"/>
            <ac:grpSpMk id="2" creationId="{90962620-E1BC-153A-01D8-670A7D0CFA78}"/>
          </ac:grpSpMkLst>
        </pc:grpChg>
        <pc:graphicFrameChg chg="add del mod modGraphic">
          <ac:chgData name="Jiayi Deng" userId="1a00fe64-c1f9-48ee-8835-dcb79118203c" providerId="ADAL" clId="{C5AC4572-7526-4C2E-B9F3-B195E90BCC87}" dt="2023-12-07T06:09:53.370" v="4556" actId="478"/>
          <ac:graphicFrameMkLst>
            <pc:docMk/>
            <pc:sldMk cId="3208453393" sldId="314"/>
            <ac:graphicFrameMk id="8" creationId="{628738BF-7381-257A-C42E-92EACB773208}"/>
          </ac:graphicFrameMkLst>
        </pc:graphicFrameChg>
        <pc:graphicFrameChg chg="add mod modGraphic">
          <ac:chgData name="Jiayi Deng" userId="1a00fe64-c1f9-48ee-8835-dcb79118203c" providerId="ADAL" clId="{C5AC4572-7526-4C2E-B9F3-B195E90BCC87}" dt="2023-12-07T06:38:25.694" v="5365" actId="1037"/>
          <ac:graphicFrameMkLst>
            <pc:docMk/>
            <pc:sldMk cId="3208453393" sldId="314"/>
            <ac:graphicFrameMk id="9" creationId="{376104E5-0F31-20F9-19A9-24511964A041}"/>
          </ac:graphicFrameMkLst>
        </pc:graphicFrameChg>
        <pc:graphicFrameChg chg="add mod ord modVis replST">
          <ac:chgData name="Jiayi Deng" userId="1a00fe64-c1f9-48ee-8835-dcb79118203c" providerId="ADAL" clId="{C5AC4572-7526-4C2E-B9F3-B195E90BCC87}" dt="2023-12-07T06:06:14.592" v="4512"/>
          <ac:graphicFrameMkLst>
            <pc:docMk/>
            <pc:sldMk cId="3208453393" sldId="314"/>
            <ac:graphicFrameMk id="13" creationId="{0D763DF0-6F6A-9E51-8B79-614B3DED311B}"/>
          </ac:graphicFrameMkLst>
        </pc:graphicFrameChg>
        <pc:graphicFrameChg chg="add del mod modGraphic">
          <ac:chgData name="Jiayi Deng" userId="1a00fe64-c1f9-48ee-8835-dcb79118203c" providerId="ADAL" clId="{C5AC4572-7526-4C2E-B9F3-B195E90BCC87}" dt="2023-12-07T06:10:45.516" v="4564" actId="478"/>
          <ac:graphicFrameMkLst>
            <pc:docMk/>
            <pc:sldMk cId="3208453393" sldId="314"/>
            <ac:graphicFrameMk id="20" creationId="{93C219DE-6317-E288-3AEA-9674D7C17F39}"/>
          </ac:graphicFrameMkLst>
        </pc:graphicFrameChg>
        <pc:picChg chg="add del mod">
          <ac:chgData name="Jiayi Deng" userId="1a00fe64-c1f9-48ee-8835-dcb79118203c" providerId="ADAL" clId="{C5AC4572-7526-4C2E-B9F3-B195E90BCC87}" dt="2023-12-06T11:09:13.386" v="3037" actId="478"/>
          <ac:picMkLst>
            <pc:docMk/>
            <pc:sldMk cId="3208453393" sldId="314"/>
            <ac:picMk id="2" creationId="{D27B2436-5BEC-BB57-7E8E-D60A12AE9055}"/>
          </ac:picMkLst>
        </pc:picChg>
        <pc:picChg chg="add del mod">
          <ac:chgData name="Jiayi Deng" userId="1a00fe64-c1f9-48ee-8835-dcb79118203c" providerId="ADAL" clId="{C5AC4572-7526-4C2E-B9F3-B195E90BCC87}" dt="2023-12-07T06:13:22.548" v="4604" actId="478"/>
          <ac:picMkLst>
            <pc:docMk/>
            <pc:sldMk cId="3208453393" sldId="314"/>
            <ac:picMk id="3" creationId="{3B37547E-AB22-D258-B1F5-DE8A6B976B58}"/>
          </ac:picMkLst>
        </pc:picChg>
        <pc:picChg chg="add del mod">
          <ac:chgData name="Jiayi Deng" userId="1a00fe64-c1f9-48ee-8835-dcb79118203c" providerId="ADAL" clId="{C5AC4572-7526-4C2E-B9F3-B195E90BCC87}" dt="2023-12-07T05:58:49.578" v="4283" actId="478"/>
          <ac:picMkLst>
            <pc:docMk/>
            <pc:sldMk cId="3208453393" sldId="314"/>
            <ac:picMk id="8" creationId="{1A9A32BC-FA91-9442-6661-2F36CB9293B1}"/>
          </ac:picMkLst>
        </pc:picChg>
      </pc:sldChg>
      <pc:sldChg chg="del">
        <pc:chgData name="Jiayi Deng" userId="1a00fe64-c1f9-48ee-8835-dcb79118203c" providerId="ADAL" clId="{C5AC4572-7526-4C2E-B9F3-B195E90BCC87}" dt="2023-12-06T10:24:00.456" v="1505" actId="47"/>
        <pc:sldMkLst>
          <pc:docMk/>
          <pc:sldMk cId="3438697070" sldId="315"/>
        </pc:sldMkLst>
      </pc:sldChg>
      <pc:sldChg chg="addSp delSp modSp mod modClrScheme chgLayout">
        <pc:chgData name="Jiayi Deng" userId="1a00fe64-c1f9-48ee-8835-dcb79118203c" providerId="ADAL" clId="{C5AC4572-7526-4C2E-B9F3-B195E90BCC87}" dt="2023-12-07T07:24:27.932" v="6893"/>
        <pc:sldMkLst>
          <pc:docMk/>
          <pc:sldMk cId="2309476945" sldId="316"/>
        </pc:sldMkLst>
        <pc:spChg chg="del mod ord">
          <ac:chgData name="Jiayi Deng" userId="1a00fe64-c1f9-48ee-8835-dcb79118203c" providerId="ADAL" clId="{C5AC4572-7526-4C2E-B9F3-B195E90BCC87}" dt="2023-12-07T07:24:00.715" v="6703" actId="478"/>
          <ac:spMkLst>
            <pc:docMk/>
            <pc:sldMk cId="2309476945" sldId="316"/>
            <ac:spMk id="2" creationId="{F8D21FEE-55BC-A672-E7FA-EC6D037AED66}"/>
          </ac:spMkLst>
        </pc:spChg>
        <pc:spChg chg="add del mod modVis">
          <ac:chgData name="Jiayi Deng" userId="1a00fe64-c1f9-48ee-8835-dcb79118203c" providerId="ADAL" clId="{C5AC4572-7526-4C2E-B9F3-B195E90BCC87}" dt="2023-12-07T07:22:44.609" v="6508"/>
          <ac:spMkLst>
            <pc:docMk/>
            <pc:sldMk cId="2309476945" sldId="316"/>
            <ac:spMk id="3" creationId="{ACAB8138-8622-4CAB-DCE0-9777FD84ECD5}"/>
          </ac:spMkLst>
        </pc:spChg>
        <pc:spChg chg="add del mod modVis">
          <ac:chgData name="Jiayi Deng" userId="1a00fe64-c1f9-48ee-8835-dcb79118203c" providerId="ADAL" clId="{C5AC4572-7526-4C2E-B9F3-B195E90BCC87}" dt="2023-12-06T10:52:51.235" v="2648"/>
          <ac:spMkLst>
            <pc:docMk/>
            <pc:sldMk cId="2309476945" sldId="316"/>
            <ac:spMk id="3" creationId="{E9A277CE-4C67-571D-A59E-56BD3868FF67}"/>
          </ac:spMkLst>
        </pc:spChg>
        <pc:spChg chg="add del mod modVis">
          <ac:chgData name="Jiayi Deng" userId="1a00fe64-c1f9-48ee-8835-dcb79118203c" providerId="ADAL" clId="{C5AC4572-7526-4C2E-B9F3-B195E90BCC87}" dt="2023-12-07T07:22:49.079" v="6542"/>
          <ac:spMkLst>
            <pc:docMk/>
            <pc:sldMk cId="2309476945" sldId="316"/>
            <ac:spMk id="5" creationId="{8B353F44-AD73-6A49-0E53-906A0DC1674D}"/>
          </ac:spMkLst>
        </pc:spChg>
        <pc:spChg chg="add del mod modVis">
          <ac:chgData name="Jiayi Deng" userId="1a00fe64-c1f9-48ee-8835-dcb79118203c" providerId="ADAL" clId="{C5AC4572-7526-4C2E-B9F3-B195E90BCC87}" dt="2023-12-07T07:22:51.307" v="6570"/>
          <ac:spMkLst>
            <pc:docMk/>
            <pc:sldMk cId="2309476945" sldId="316"/>
            <ac:spMk id="6" creationId="{A33F9881-644E-53D0-EE46-8D45355A5688}"/>
          </ac:spMkLst>
        </pc:spChg>
        <pc:spChg chg="add del mod modVis">
          <ac:chgData name="Jiayi Deng" userId="1a00fe64-c1f9-48ee-8835-dcb79118203c" providerId="ADAL" clId="{C5AC4572-7526-4C2E-B9F3-B195E90BCC87}" dt="2023-12-07T07:22:52.416" v="6598"/>
          <ac:spMkLst>
            <pc:docMk/>
            <pc:sldMk cId="2309476945" sldId="316"/>
            <ac:spMk id="8" creationId="{129C346E-F65E-6811-2839-8795BDB9EF2A}"/>
          </ac:spMkLst>
        </pc:spChg>
        <pc:spChg chg="del">
          <ac:chgData name="Jiayi Deng" userId="1a00fe64-c1f9-48ee-8835-dcb79118203c" providerId="ADAL" clId="{C5AC4572-7526-4C2E-B9F3-B195E90BCC87}" dt="2023-12-07T07:19:43.479" v="6479" actId="478"/>
          <ac:spMkLst>
            <pc:docMk/>
            <pc:sldMk cId="2309476945" sldId="316"/>
            <ac:spMk id="9" creationId="{3C8F7252-F348-66C1-29AF-9F6D04675222}"/>
          </ac:spMkLst>
        </pc:spChg>
        <pc:spChg chg="add del mod modVis">
          <ac:chgData name="Jiayi Deng" userId="1a00fe64-c1f9-48ee-8835-dcb79118203c" providerId="ADAL" clId="{C5AC4572-7526-4C2E-B9F3-B195E90BCC87}" dt="2023-12-07T07:22:54.026" v="6626"/>
          <ac:spMkLst>
            <pc:docMk/>
            <pc:sldMk cId="2309476945" sldId="316"/>
            <ac:spMk id="10" creationId="{6FA7FE00-3379-4FCB-0084-50171E82DB65}"/>
          </ac:spMkLst>
        </pc:spChg>
        <pc:spChg chg="add del mod modVis">
          <ac:chgData name="Jiayi Deng" userId="1a00fe64-c1f9-48ee-8835-dcb79118203c" providerId="ADAL" clId="{C5AC4572-7526-4C2E-B9F3-B195E90BCC87}" dt="2023-12-07T07:22:55.231" v="6654"/>
          <ac:spMkLst>
            <pc:docMk/>
            <pc:sldMk cId="2309476945" sldId="316"/>
            <ac:spMk id="11" creationId="{8D8913E6-5BC6-CCB4-C4EE-3BDD0A0FB945}"/>
          </ac:spMkLst>
        </pc:spChg>
        <pc:spChg chg="add del mod modVis">
          <ac:chgData name="Jiayi Deng" userId="1a00fe64-c1f9-48ee-8835-dcb79118203c" providerId="ADAL" clId="{C5AC4572-7526-4C2E-B9F3-B195E90BCC87}" dt="2023-12-07T07:22:57.218" v="6682"/>
          <ac:spMkLst>
            <pc:docMk/>
            <pc:sldMk cId="2309476945" sldId="316"/>
            <ac:spMk id="12" creationId="{EBC594A5-EBD4-7B28-8FE2-7FDEE4DA5F2B}"/>
          </ac:spMkLst>
        </pc:spChg>
        <pc:spChg chg="add del mod ord">
          <ac:chgData name="Jiayi Deng" userId="1a00fe64-c1f9-48ee-8835-dcb79118203c" providerId="ADAL" clId="{C5AC4572-7526-4C2E-B9F3-B195E90BCC87}" dt="2023-12-07T07:23:55.985" v="6696"/>
          <ac:spMkLst>
            <pc:docMk/>
            <pc:sldMk cId="2309476945" sldId="316"/>
            <ac:spMk id="13" creationId="{DB46911F-A958-6DE2-2689-894C73AC99B9}"/>
          </ac:spMkLst>
        </pc:spChg>
        <pc:spChg chg="add del mod ord">
          <ac:chgData name="Jiayi Deng" userId="1a00fe64-c1f9-48ee-8835-dcb79118203c" providerId="ADAL" clId="{C5AC4572-7526-4C2E-B9F3-B195E90BCC87}" dt="2023-12-07T07:23:58.283" v="6702" actId="478"/>
          <ac:spMkLst>
            <pc:docMk/>
            <pc:sldMk cId="2309476945" sldId="316"/>
            <ac:spMk id="14" creationId="{6B4752DA-9C43-224D-7C65-8744EF7532B7}"/>
          </ac:spMkLst>
        </pc:spChg>
        <pc:spChg chg="add mod">
          <ac:chgData name="Jiayi Deng" userId="1a00fe64-c1f9-48ee-8835-dcb79118203c" providerId="ADAL" clId="{C5AC4572-7526-4C2E-B9F3-B195E90BCC87}" dt="2023-12-07T07:24:27.913" v="6867" actId="948"/>
          <ac:spMkLst>
            <pc:docMk/>
            <pc:sldMk cId="2309476945" sldId="316"/>
            <ac:spMk id="16" creationId="{A18874A8-D293-2A9A-57B1-2D16DFA83146}"/>
          </ac:spMkLst>
        </pc:spChg>
        <pc:spChg chg="add del mod modVis">
          <ac:chgData name="Jiayi Deng" userId="1a00fe64-c1f9-48ee-8835-dcb79118203c" providerId="ADAL" clId="{C5AC4572-7526-4C2E-B9F3-B195E90BCC87}" dt="2023-12-07T07:24:06.875" v="6742"/>
          <ac:spMkLst>
            <pc:docMk/>
            <pc:sldMk cId="2309476945" sldId="316"/>
            <ac:spMk id="17" creationId="{6A89351F-1183-D6C1-3BB6-5A925479B078}"/>
          </ac:spMkLst>
        </pc:spChg>
        <pc:spChg chg="add del mod modVis">
          <ac:chgData name="Jiayi Deng" userId="1a00fe64-c1f9-48ee-8835-dcb79118203c" providerId="ADAL" clId="{C5AC4572-7526-4C2E-B9F3-B195E90BCC87}" dt="2023-12-07T07:24:11.657" v="6777"/>
          <ac:spMkLst>
            <pc:docMk/>
            <pc:sldMk cId="2309476945" sldId="316"/>
            <ac:spMk id="18" creationId="{44B720B9-BA2C-9383-E91D-8B27CA1FBF9F}"/>
          </ac:spMkLst>
        </pc:spChg>
        <pc:spChg chg="add del mod modVis">
          <ac:chgData name="Jiayi Deng" userId="1a00fe64-c1f9-48ee-8835-dcb79118203c" providerId="ADAL" clId="{C5AC4572-7526-4C2E-B9F3-B195E90BCC87}" dt="2023-12-07T07:24:12.668" v="6805"/>
          <ac:spMkLst>
            <pc:docMk/>
            <pc:sldMk cId="2309476945" sldId="316"/>
            <ac:spMk id="19" creationId="{215A3E0F-33A3-27D2-FA81-513306585162}"/>
          </ac:spMkLst>
        </pc:spChg>
        <pc:spChg chg="add del mod modVis">
          <ac:chgData name="Jiayi Deng" userId="1a00fe64-c1f9-48ee-8835-dcb79118203c" providerId="ADAL" clId="{C5AC4572-7526-4C2E-B9F3-B195E90BCC87}" dt="2023-12-07T07:24:14.369" v="6833"/>
          <ac:spMkLst>
            <pc:docMk/>
            <pc:sldMk cId="2309476945" sldId="316"/>
            <ac:spMk id="20" creationId="{2CE7D275-B228-A929-C4A0-693745110267}"/>
          </ac:spMkLst>
        </pc:spChg>
        <pc:spChg chg="add del mod modVis">
          <ac:chgData name="Jiayi Deng" userId="1a00fe64-c1f9-48ee-8835-dcb79118203c" providerId="ADAL" clId="{C5AC4572-7526-4C2E-B9F3-B195E90BCC87}" dt="2023-12-07T07:24:21.509" v="6863"/>
          <ac:spMkLst>
            <pc:docMk/>
            <pc:sldMk cId="2309476945" sldId="316"/>
            <ac:spMk id="21" creationId="{187286B5-BFBA-7EB1-2370-0EBAD8DF8A3C}"/>
          </ac:spMkLst>
        </pc:spChg>
        <pc:spChg chg="add del mod modVis">
          <ac:chgData name="Jiayi Deng" userId="1a00fe64-c1f9-48ee-8835-dcb79118203c" providerId="ADAL" clId="{C5AC4572-7526-4C2E-B9F3-B195E90BCC87}" dt="2023-12-07T07:24:27.930" v="6891"/>
          <ac:spMkLst>
            <pc:docMk/>
            <pc:sldMk cId="2309476945" sldId="316"/>
            <ac:spMk id="22" creationId="{8A679A44-7C3B-EB75-9A92-D76FB607F5DC}"/>
          </ac:spMkLst>
        </pc:spChg>
        <pc:graphicFrameChg chg="add mod ord modVis replST">
          <ac:chgData name="Jiayi Deng" userId="1a00fe64-c1f9-48ee-8835-dcb79118203c" providerId="ADAL" clId="{C5AC4572-7526-4C2E-B9F3-B195E90BCC87}" dt="2023-12-07T07:24:27.932" v="6893"/>
          <ac:graphicFrameMkLst>
            <pc:docMk/>
            <pc:sldMk cId="2309476945" sldId="316"/>
            <ac:graphicFrameMk id="4" creationId="{C253E3FC-0C09-A590-6581-0240B8DC1D44}"/>
          </ac:graphicFrameMkLst>
        </pc:graphicFrameChg>
        <pc:picChg chg="mod">
          <ac:chgData name="Jiayi Deng" userId="1a00fe64-c1f9-48ee-8835-dcb79118203c" providerId="ADAL" clId="{C5AC4572-7526-4C2E-B9F3-B195E90BCC87}" dt="2023-12-07T07:24:18.805" v="6837" actId="1076"/>
          <ac:picMkLst>
            <pc:docMk/>
            <pc:sldMk cId="2309476945" sldId="316"/>
            <ac:picMk id="7" creationId="{0A5B7CC0-04D3-4634-DD68-3F0D978560AE}"/>
          </ac:picMkLst>
        </pc:picChg>
      </pc:sldChg>
      <pc:sldChg chg="addSp delSp modSp mod modClrScheme chgLayout">
        <pc:chgData name="Jiayi Deng" userId="1a00fe64-c1f9-48ee-8835-dcb79118203c" providerId="ADAL" clId="{C5AC4572-7526-4C2E-B9F3-B195E90BCC87}" dt="2023-12-07T07:27:44.065" v="7104" actId="1037"/>
        <pc:sldMkLst>
          <pc:docMk/>
          <pc:sldMk cId="2636963148" sldId="317"/>
        </pc:sldMkLst>
        <pc:spChg chg="add del mod ord">
          <ac:chgData name="Jiayi Deng" userId="1a00fe64-c1f9-48ee-8835-dcb79118203c" providerId="ADAL" clId="{C5AC4572-7526-4C2E-B9F3-B195E90BCC87}" dt="2023-12-07T07:27:00.873" v="7096" actId="948"/>
          <ac:spMkLst>
            <pc:docMk/>
            <pc:sldMk cId="2636963148" sldId="317"/>
            <ac:spMk id="2" creationId="{F8D21FEE-55BC-A672-E7FA-EC6D037AED66}"/>
          </ac:spMkLst>
        </pc:spChg>
        <pc:spChg chg="del">
          <ac:chgData name="Jiayi Deng" userId="1a00fe64-c1f9-48ee-8835-dcb79118203c" providerId="ADAL" clId="{C5AC4572-7526-4C2E-B9F3-B195E90BCC87}" dt="2023-12-07T07:24:56.694" v="6894" actId="478"/>
          <ac:spMkLst>
            <pc:docMk/>
            <pc:sldMk cId="2636963148" sldId="317"/>
            <ac:spMk id="3" creationId="{0B0E3A0C-C5DD-B57E-407F-3A7E9C870FBD}"/>
          </ac:spMkLst>
        </pc:spChg>
        <pc:spChg chg="add del mod modVis">
          <ac:chgData name="Jiayi Deng" userId="1a00fe64-c1f9-48ee-8835-dcb79118203c" providerId="ADAL" clId="{C5AC4572-7526-4C2E-B9F3-B195E90BCC87}" dt="2023-12-07T07:25:00.475" v="6921"/>
          <ac:spMkLst>
            <pc:docMk/>
            <pc:sldMk cId="2636963148" sldId="317"/>
            <ac:spMk id="4" creationId="{BB701FC0-519E-0D0B-C9F3-40BC6D23A51B}"/>
          </ac:spMkLst>
        </pc:spChg>
        <pc:spChg chg="add del mod modVis">
          <ac:chgData name="Jiayi Deng" userId="1a00fe64-c1f9-48ee-8835-dcb79118203c" providerId="ADAL" clId="{C5AC4572-7526-4C2E-B9F3-B195E90BCC87}" dt="2023-12-07T07:25:17.619" v="6966"/>
          <ac:spMkLst>
            <pc:docMk/>
            <pc:sldMk cId="2636963148" sldId="317"/>
            <ac:spMk id="6" creationId="{C0A412D8-5101-8271-552C-9132E464C36D}"/>
          </ac:spMkLst>
        </pc:spChg>
        <pc:spChg chg="add del mod modVis">
          <ac:chgData name="Jiayi Deng" userId="1a00fe64-c1f9-48ee-8835-dcb79118203c" providerId="ADAL" clId="{C5AC4572-7526-4C2E-B9F3-B195E90BCC87}" dt="2023-12-07T07:25:18.850" v="6994"/>
          <ac:spMkLst>
            <pc:docMk/>
            <pc:sldMk cId="2636963148" sldId="317"/>
            <ac:spMk id="7" creationId="{73269FC9-9226-0970-9E19-4D2D3EEC8C2A}"/>
          </ac:spMkLst>
        </pc:spChg>
        <pc:spChg chg="add del mod ord">
          <ac:chgData name="Jiayi Deng" userId="1a00fe64-c1f9-48ee-8835-dcb79118203c" providerId="ADAL" clId="{C5AC4572-7526-4C2E-B9F3-B195E90BCC87}" dt="2023-12-07T07:26:36.220" v="7048" actId="700"/>
          <ac:spMkLst>
            <pc:docMk/>
            <pc:sldMk cId="2636963148" sldId="317"/>
            <ac:spMk id="9" creationId="{A2FA4FE5-8953-00F1-4C4C-05B567DBD96A}"/>
          </ac:spMkLst>
        </pc:spChg>
        <pc:spChg chg="add del mod">
          <ac:chgData name="Jiayi Deng" userId="1a00fe64-c1f9-48ee-8835-dcb79118203c" providerId="ADAL" clId="{C5AC4572-7526-4C2E-B9F3-B195E90BCC87}" dt="2023-12-07T07:26:47.859" v="7067" actId="478"/>
          <ac:spMkLst>
            <pc:docMk/>
            <pc:sldMk cId="2636963148" sldId="317"/>
            <ac:spMk id="11" creationId="{70134E13-5071-5AFE-BAD4-8EA781F42B99}"/>
          </ac:spMkLst>
        </pc:spChg>
        <pc:graphicFrameChg chg="add mod ord modVis replST">
          <ac:chgData name="Jiayi Deng" userId="1a00fe64-c1f9-48ee-8835-dcb79118203c" providerId="ADAL" clId="{C5AC4572-7526-4C2E-B9F3-B195E90BCC87}" dt="2023-12-07T07:27:00.878" v="7100"/>
          <ac:graphicFrameMkLst>
            <pc:docMk/>
            <pc:sldMk cId="2636963148" sldId="317"/>
            <ac:graphicFrameMk id="5" creationId="{2651BFD1-56EF-8121-47EC-1B7534F31287}"/>
          </ac:graphicFrameMkLst>
        </pc:graphicFrameChg>
        <pc:picChg chg="mod">
          <ac:chgData name="Jiayi Deng" userId="1a00fe64-c1f9-48ee-8835-dcb79118203c" providerId="ADAL" clId="{C5AC4572-7526-4C2E-B9F3-B195E90BCC87}" dt="2023-12-07T07:27:44.065" v="7104" actId="1037"/>
          <ac:picMkLst>
            <pc:docMk/>
            <pc:sldMk cId="2636963148" sldId="317"/>
            <ac:picMk id="8" creationId="{B20572E4-BF3B-4F0B-BDC6-465EE51E8B5F}"/>
          </ac:picMkLst>
        </pc:picChg>
      </pc:sldChg>
      <pc:sldChg chg="addSp delSp modSp new add mod modClrScheme chgLayout">
        <pc:chgData name="Jiayi Deng" userId="1a00fe64-c1f9-48ee-8835-dcb79118203c" providerId="ADAL" clId="{C5AC4572-7526-4C2E-B9F3-B195E90BCC87}" dt="2023-12-07T05:55:32.146" v="4266" actId="478"/>
        <pc:sldMkLst>
          <pc:docMk/>
          <pc:sldMk cId="1509561868" sldId="318"/>
        </pc:sldMkLst>
        <pc:spChg chg="del mod ord">
          <ac:chgData name="Jiayi Deng" userId="1a00fe64-c1f9-48ee-8835-dcb79118203c" providerId="ADAL" clId="{C5AC4572-7526-4C2E-B9F3-B195E90BCC87}" dt="2023-12-06T09:36:35.619" v="60"/>
          <ac:spMkLst>
            <pc:docMk/>
            <pc:sldMk cId="1509561868" sldId="318"/>
            <ac:spMk id="2" creationId="{D270B646-8DC0-B9C4-FEA3-B118695EB740}"/>
          </ac:spMkLst>
        </pc:spChg>
        <pc:spChg chg="del mod ord">
          <ac:chgData name="Jiayi Deng" userId="1a00fe64-c1f9-48ee-8835-dcb79118203c" providerId="ADAL" clId="{C5AC4572-7526-4C2E-B9F3-B195E90BCC87}" dt="2023-12-06T09:36:35.619" v="60"/>
          <ac:spMkLst>
            <pc:docMk/>
            <pc:sldMk cId="1509561868" sldId="318"/>
            <ac:spMk id="3" creationId="{F66EA57B-6A2E-4829-8CE5-45D1631B7830}"/>
          </ac:spMkLst>
        </pc:spChg>
        <pc:spChg chg="add mod ord">
          <ac:chgData name="Jiayi Deng" userId="1a00fe64-c1f9-48ee-8835-dcb79118203c" providerId="ADAL" clId="{C5AC4572-7526-4C2E-B9F3-B195E90BCC87}" dt="2023-12-06T09:36:50.167" v="123" actId="948"/>
          <ac:spMkLst>
            <pc:docMk/>
            <pc:sldMk cId="1509561868" sldId="318"/>
            <ac:spMk id="4" creationId="{4CFA0017-26A7-1BA3-905A-3EFB3A1AF7CD}"/>
          </ac:spMkLst>
        </pc:spChg>
        <pc:spChg chg="add del mod ord">
          <ac:chgData name="Jiayi Deng" userId="1a00fe64-c1f9-48ee-8835-dcb79118203c" providerId="ADAL" clId="{C5AC4572-7526-4C2E-B9F3-B195E90BCC87}" dt="2023-12-06T09:36:57.590" v="151" actId="478"/>
          <ac:spMkLst>
            <pc:docMk/>
            <pc:sldMk cId="1509561868" sldId="318"/>
            <ac:spMk id="5" creationId="{AF27C9A9-CFAA-92E9-4AB0-16DF37338B36}"/>
          </ac:spMkLst>
        </pc:spChg>
        <pc:spChg chg="add del mod modVis">
          <ac:chgData name="Jiayi Deng" userId="1a00fe64-c1f9-48ee-8835-dcb79118203c" providerId="ADAL" clId="{C5AC4572-7526-4C2E-B9F3-B195E90BCC87}" dt="2023-12-06T09:36:47.534" v="112"/>
          <ac:spMkLst>
            <pc:docMk/>
            <pc:sldMk cId="1509561868" sldId="318"/>
            <ac:spMk id="7" creationId="{EBEDBF99-6C5A-D91F-BB58-8317952E959C}"/>
          </ac:spMkLst>
        </pc:spChg>
        <pc:spChg chg="add del mod modVis">
          <ac:chgData name="Jiayi Deng" userId="1a00fe64-c1f9-48ee-8835-dcb79118203c" providerId="ADAL" clId="{C5AC4572-7526-4C2E-B9F3-B195E90BCC87}" dt="2023-12-06T09:36:50.183" v="147"/>
          <ac:spMkLst>
            <pc:docMk/>
            <pc:sldMk cId="1509561868" sldId="318"/>
            <ac:spMk id="8" creationId="{1F01B656-E2EF-C26E-2F0D-9359130F1615}"/>
          </ac:spMkLst>
        </pc:spChg>
        <pc:graphicFrameChg chg="add del mod modGraphic">
          <ac:chgData name="Jiayi Deng" userId="1a00fe64-c1f9-48ee-8835-dcb79118203c" providerId="ADAL" clId="{C5AC4572-7526-4C2E-B9F3-B195E90BCC87}" dt="2023-12-07T05:55:32.146" v="4266" actId="478"/>
          <ac:graphicFrameMkLst>
            <pc:docMk/>
            <pc:sldMk cId="1509561868" sldId="318"/>
            <ac:graphicFrameMk id="2" creationId="{FD87A321-4F55-8892-E137-BDAE59D1F277}"/>
          </ac:graphicFrameMkLst>
        </pc:graphicFrameChg>
        <pc:graphicFrameChg chg="add mod ord modVis replST">
          <ac:chgData name="Jiayi Deng" userId="1a00fe64-c1f9-48ee-8835-dcb79118203c" providerId="ADAL" clId="{C5AC4572-7526-4C2E-B9F3-B195E90BCC87}" dt="2023-12-06T09:36:50.185" v="149"/>
          <ac:graphicFrameMkLst>
            <pc:docMk/>
            <pc:sldMk cId="1509561868" sldId="318"/>
            <ac:graphicFrameMk id="6" creationId="{2507C553-8608-3009-53E1-B24476294BC8}"/>
          </ac:graphicFrameMkLst>
        </pc:graphicFrameChg>
        <pc:graphicFrameChg chg="add del modGraphic">
          <ac:chgData name="Jiayi Deng" userId="1a00fe64-c1f9-48ee-8835-dcb79118203c" providerId="ADAL" clId="{C5AC4572-7526-4C2E-B9F3-B195E90BCC87}" dt="2023-12-06T09:37:20.679" v="155" actId="478"/>
          <ac:graphicFrameMkLst>
            <pc:docMk/>
            <pc:sldMk cId="1509561868" sldId="318"/>
            <ac:graphicFrameMk id="9" creationId="{949300B7-4678-DBEA-6114-7A5ECD58A6F5}"/>
          </ac:graphicFrameMkLst>
        </pc:graphicFrameChg>
        <pc:graphicFrameChg chg="add mod modGraphic">
          <ac:chgData name="Jiayi Deng" userId="1a00fe64-c1f9-48ee-8835-dcb79118203c" providerId="ADAL" clId="{C5AC4572-7526-4C2E-B9F3-B195E90BCC87}" dt="2023-12-06T10:09:24.930" v="918" actId="120"/>
          <ac:graphicFrameMkLst>
            <pc:docMk/>
            <pc:sldMk cId="1509561868" sldId="318"/>
            <ac:graphicFrameMk id="10" creationId="{9A7E940E-5790-1B39-34E9-8ADFA958BD35}"/>
          </ac:graphicFrameMkLst>
        </pc:graphicFrameChg>
      </pc:sldChg>
      <pc:sldChg chg="addSp modSp add mod">
        <pc:chgData name="Jiayi Deng" userId="1a00fe64-c1f9-48ee-8835-dcb79118203c" providerId="ADAL" clId="{C5AC4572-7526-4C2E-B9F3-B195E90BCC87}" dt="2023-12-06T10:54:39.408" v="2807"/>
        <pc:sldMkLst>
          <pc:docMk/>
          <pc:sldMk cId="2257815219" sldId="319"/>
        </pc:sldMkLst>
        <pc:spChg chg="mod">
          <ac:chgData name="Jiayi Deng" userId="1a00fe64-c1f9-48ee-8835-dcb79118203c" providerId="ADAL" clId="{C5AC4572-7526-4C2E-B9F3-B195E90BCC87}" dt="2023-12-06T10:54:38.863" v="2803" actId="255"/>
          <ac:spMkLst>
            <pc:docMk/>
            <pc:sldMk cId="2257815219" sldId="319"/>
            <ac:spMk id="835" creationId="{00000000-0000-0000-0000-000000000000}"/>
          </ac:spMkLst>
        </pc:spChg>
        <pc:graphicFrameChg chg="add mod ord modVis replST">
          <ac:chgData name="Jiayi Deng" userId="1a00fe64-c1f9-48ee-8835-dcb79118203c" providerId="ADAL" clId="{C5AC4572-7526-4C2E-B9F3-B195E90BCC87}" dt="2023-12-06T10:54:39.408" v="2807"/>
          <ac:graphicFrameMkLst>
            <pc:docMk/>
            <pc:sldMk cId="2257815219" sldId="319"/>
            <ac:graphicFrameMk id="2" creationId="{3A4F1BDA-5C5D-EABE-021E-0264D8F8D846}"/>
          </ac:graphicFrameMkLst>
        </pc:graphicFrameChg>
      </pc:sldChg>
      <pc:sldChg chg="addSp delSp modSp add mod chgLayout">
        <pc:chgData name="Jiayi Deng" userId="1a00fe64-c1f9-48ee-8835-dcb79118203c" providerId="ADAL" clId="{C5AC4572-7526-4C2E-B9F3-B195E90BCC87}" dt="2023-12-07T08:06:36.773" v="8066" actId="14826"/>
        <pc:sldMkLst>
          <pc:docMk/>
          <pc:sldMk cId="0" sldId="320"/>
        </pc:sldMkLst>
        <pc:spChg chg="add del mod ord">
          <ac:chgData name="Jiayi Deng" userId="1a00fe64-c1f9-48ee-8835-dcb79118203c" providerId="ADAL" clId="{C5AC4572-7526-4C2E-B9F3-B195E90BCC87}" dt="2023-12-06T10:36:25.961" v="2190" actId="478"/>
          <ac:spMkLst>
            <pc:docMk/>
            <pc:sldMk cId="0" sldId="320"/>
            <ac:spMk id="3" creationId="{33EF5B2B-1649-5EDE-36AD-204736C2DAB3}"/>
          </ac:spMkLst>
        </pc:spChg>
        <pc:spChg chg="add mod">
          <ac:chgData name="Jiayi Deng" userId="1a00fe64-c1f9-48ee-8835-dcb79118203c" providerId="ADAL" clId="{C5AC4572-7526-4C2E-B9F3-B195E90BCC87}" dt="2023-12-06T10:43:41.831" v="2316" actId="115"/>
          <ac:spMkLst>
            <pc:docMk/>
            <pc:sldMk cId="0" sldId="320"/>
            <ac:spMk id="4" creationId="{EDB09304-B0D6-0C3B-03F3-54C3C28FCF40}"/>
          </ac:spMkLst>
        </pc:spChg>
        <pc:spChg chg="mod ord">
          <ac:chgData name="Jiayi Deng" userId="1a00fe64-c1f9-48ee-8835-dcb79118203c" providerId="ADAL" clId="{C5AC4572-7526-4C2E-B9F3-B195E90BCC87}" dt="2023-12-06T10:36:23.301" v="2185"/>
          <ac:spMkLst>
            <pc:docMk/>
            <pc:sldMk cId="0" sldId="320"/>
            <ac:spMk id="91" creationId="{00000000-0000-0000-0000-000000000000}"/>
          </ac:spMkLst>
        </pc:spChg>
        <pc:spChg chg="mod">
          <ac:chgData name="Jiayi Deng" userId="1a00fe64-c1f9-48ee-8835-dcb79118203c" providerId="ADAL" clId="{C5AC4572-7526-4C2E-B9F3-B195E90BCC87}" dt="2023-12-06T10:44:02.958" v="2319" actId="108"/>
          <ac:spMkLst>
            <pc:docMk/>
            <pc:sldMk cId="0" sldId="320"/>
            <ac:spMk id="96" creationId="{00000000-0000-0000-0000-000000000000}"/>
          </ac:spMkLst>
        </pc:spChg>
        <pc:spChg chg="mod">
          <ac:chgData name="Jiayi Deng" userId="1a00fe64-c1f9-48ee-8835-dcb79118203c" providerId="ADAL" clId="{C5AC4572-7526-4C2E-B9F3-B195E90BCC87}" dt="2023-12-06T10:44:05.974" v="2320" actId="108"/>
          <ac:spMkLst>
            <pc:docMk/>
            <pc:sldMk cId="0" sldId="320"/>
            <ac:spMk id="97" creationId="{00000000-0000-0000-0000-000000000000}"/>
          </ac:spMkLst>
        </pc:spChg>
        <pc:spChg chg="mod">
          <ac:chgData name="Jiayi Deng" userId="1a00fe64-c1f9-48ee-8835-dcb79118203c" providerId="ADAL" clId="{C5AC4572-7526-4C2E-B9F3-B195E90BCC87}" dt="2023-12-06T10:43:58.276" v="2318" actId="255"/>
          <ac:spMkLst>
            <pc:docMk/>
            <pc:sldMk cId="0" sldId="320"/>
            <ac:spMk id="98" creationId="{00000000-0000-0000-0000-000000000000}"/>
          </ac:spMkLst>
        </pc:spChg>
        <pc:spChg chg="del mod">
          <ac:chgData name="Jiayi Deng" userId="1a00fe64-c1f9-48ee-8835-dcb79118203c" providerId="ADAL" clId="{C5AC4572-7526-4C2E-B9F3-B195E90BCC87}" dt="2023-12-06T10:43:25.563" v="2312" actId="478"/>
          <ac:spMkLst>
            <pc:docMk/>
            <pc:sldMk cId="0" sldId="320"/>
            <ac:spMk id="99" creationId="{00000000-0000-0000-0000-000000000000}"/>
          </ac:spMkLst>
        </pc:spChg>
        <pc:graphicFrameChg chg="add mod ord modVis replST">
          <ac:chgData name="Jiayi Deng" userId="1a00fe64-c1f9-48ee-8835-dcb79118203c" providerId="ADAL" clId="{C5AC4572-7526-4C2E-B9F3-B195E90BCC87}" dt="2023-12-06T10:36:23.816" v="2189"/>
          <ac:graphicFrameMkLst>
            <pc:docMk/>
            <pc:sldMk cId="0" sldId="320"/>
            <ac:graphicFrameMk id="2" creationId="{3DF52307-DBC3-03AB-9834-1D922F217171}"/>
          </ac:graphicFrameMkLst>
        </pc:graphicFrameChg>
        <pc:picChg chg="mod">
          <ac:chgData name="Jiayi Deng" userId="1a00fe64-c1f9-48ee-8835-dcb79118203c" providerId="ADAL" clId="{C5AC4572-7526-4C2E-B9F3-B195E90BCC87}" dt="2023-12-06T10:36:36.713" v="2192" actId="1076"/>
          <ac:picMkLst>
            <pc:docMk/>
            <pc:sldMk cId="0" sldId="320"/>
            <ac:picMk id="92" creationId="{00000000-0000-0000-0000-000000000000}"/>
          </ac:picMkLst>
        </pc:picChg>
        <pc:picChg chg="mod">
          <ac:chgData name="Jiayi Deng" userId="1a00fe64-c1f9-48ee-8835-dcb79118203c" providerId="ADAL" clId="{C5AC4572-7526-4C2E-B9F3-B195E90BCC87}" dt="2023-12-06T10:37:34.793" v="2204" actId="1076"/>
          <ac:picMkLst>
            <pc:docMk/>
            <pc:sldMk cId="0" sldId="320"/>
            <ac:picMk id="93" creationId="{00000000-0000-0000-0000-000000000000}"/>
          </ac:picMkLst>
        </pc:picChg>
        <pc:picChg chg="mod">
          <ac:chgData name="Jiayi Deng" userId="1a00fe64-c1f9-48ee-8835-dcb79118203c" providerId="ADAL" clId="{C5AC4572-7526-4C2E-B9F3-B195E90BCC87}" dt="2023-12-07T08:06:36.773" v="8066" actId="14826"/>
          <ac:picMkLst>
            <pc:docMk/>
            <pc:sldMk cId="0" sldId="320"/>
            <ac:picMk id="94" creationId="{00000000-0000-0000-0000-000000000000}"/>
          </ac:picMkLst>
        </pc:picChg>
        <pc:picChg chg="mod">
          <ac:chgData name="Jiayi Deng" userId="1a00fe64-c1f9-48ee-8835-dcb79118203c" providerId="ADAL" clId="{C5AC4572-7526-4C2E-B9F3-B195E90BCC87}" dt="2023-12-06T10:37:02.173" v="2198" actId="1076"/>
          <ac:picMkLst>
            <pc:docMk/>
            <pc:sldMk cId="0" sldId="320"/>
            <ac:picMk id="95" creationId="{00000000-0000-0000-0000-000000000000}"/>
          </ac:picMkLst>
        </pc:picChg>
      </pc:sldChg>
      <pc:sldChg chg="addSp delSp modSp new add del mod ord modClrScheme chgLayout">
        <pc:chgData name="Jiayi Deng" userId="1a00fe64-c1f9-48ee-8835-dcb79118203c" providerId="ADAL" clId="{C5AC4572-7526-4C2E-B9F3-B195E90BCC87}" dt="2023-12-06T11:12:20.260" v="3156" actId="47"/>
        <pc:sldMkLst>
          <pc:docMk/>
          <pc:sldMk cId="3593715306" sldId="321"/>
        </pc:sldMkLst>
        <pc:spChg chg="del mod ord">
          <ac:chgData name="Jiayi Deng" userId="1a00fe64-c1f9-48ee-8835-dcb79118203c" providerId="ADAL" clId="{C5AC4572-7526-4C2E-B9F3-B195E90BCC87}" dt="2023-12-06T11:03:47.697" v="2980"/>
          <ac:spMkLst>
            <pc:docMk/>
            <pc:sldMk cId="3593715306" sldId="321"/>
            <ac:spMk id="2" creationId="{DBC2DCA3-2491-8FDF-0788-4A2E56CD8931}"/>
          </ac:spMkLst>
        </pc:spChg>
        <pc:spChg chg="del">
          <ac:chgData name="Jiayi Deng" userId="1a00fe64-c1f9-48ee-8835-dcb79118203c" providerId="ADAL" clId="{C5AC4572-7526-4C2E-B9F3-B195E90BCC87}" dt="2023-12-06T11:03:47.697" v="2980"/>
          <ac:spMkLst>
            <pc:docMk/>
            <pc:sldMk cId="3593715306" sldId="321"/>
            <ac:spMk id="3" creationId="{BD33107D-A98B-3D1C-109D-A4C9F1A0C1D9}"/>
          </ac:spMkLst>
        </pc:spChg>
        <pc:spChg chg="del mod ord">
          <ac:chgData name="Jiayi Deng" userId="1a00fe64-c1f9-48ee-8835-dcb79118203c" providerId="ADAL" clId="{C5AC4572-7526-4C2E-B9F3-B195E90BCC87}" dt="2023-12-06T11:03:47.697" v="2980"/>
          <ac:spMkLst>
            <pc:docMk/>
            <pc:sldMk cId="3593715306" sldId="321"/>
            <ac:spMk id="4" creationId="{E824C6F4-297C-3F3C-475F-9FB75634145F}"/>
          </ac:spMkLst>
        </pc:spChg>
        <pc:spChg chg="del">
          <ac:chgData name="Jiayi Deng" userId="1a00fe64-c1f9-48ee-8835-dcb79118203c" providerId="ADAL" clId="{C5AC4572-7526-4C2E-B9F3-B195E90BCC87}" dt="2023-12-06T11:03:47.697" v="2980"/>
          <ac:spMkLst>
            <pc:docMk/>
            <pc:sldMk cId="3593715306" sldId="321"/>
            <ac:spMk id="5" creationId="{E708B67F-E90E-C6E8-2738-917DEE24C01C}"/>
          </ac:spMkLst>
        </pc:spChg>
        <pc:spChg chg="del">
          <ac:chgData name="Jiayi Deng" userId="1a00fe64-c1f9-48ee-8835-dcb79118203c" providerId="ADAL" clId="{C5AC4572-7526-4C2E-B9F3-B195E90BCC87}" dt="2023-12-06T11:03:47.697" v="2980"/>
          <ac:spMkLst>
            <pc:docMk/>
            <pc:sldMk cId="3593715306" sldId="321"/>
            <ac:spMk id="6" creationId="{4B53E8C6-F0CE-3438-D20C-4820E413554E}"/>
          </ac:spMkLst>
        </pc:spChg>
        <pc:spChg chg="del">
          <ac:chgData name="Jiayi Deng" userId="1a00fe64-c1f9-48ee-8835-dcb79118203c" providerId="ADAL" clId="{C5AC4572-7526-4C2E-B9F3-B195E90BCC87}" dt="2023-12-06T11:03:47.697" v="2980"/>
          <ac:spMkLst>
            <pc:docMk/>
            <pc:sldMk cId="3593715306" sldId="321"/>
            <ac:spMk id="7" creationId="{060E3999-7DB1-876C-F458-FB704D9F4045}"/>
          </ac:spMkLst>
        </pc:spChg>
        <pc:spChg chg="del">
          <ac:chgData name="Jiayi Deng" userId="1a00fe64-c1f9-48ee-8835-dcb79118203c" providerId="ADAL" clId="{C5AC4572-7526-4C2E-B9F3-B195E90BCC87}" dt="2023-12-06T11:03:47.697" v="2980"/>
          <ac:spMkLst>
            <pc:docMk/>
            <pc:sldMk cId="3593715306" sldId="321"/>
            <ac:spMk id="8" creationId="{CD30BE4E-826F-1780-1F55-975C72D39625}"/>
          </ac:spMkLst>
        </pc:spChg>
        <pc:spChg chg="add mod ord">
          <ac:chgData name="Jiayi Deng" userId="1a00fe64-c1f9-48ee-8835-dcb79118203c" providerId="ADAL" clId="{C5AC4572-7526-4C2E-B9F3-B195E90BCC87}" dt="2023-12-06T11:03:47.697" v="2980"/>
          <ac:spMkLst>
            <pc:docMk/>
            <pc:sldMk cId="3593715306" sldId="321"/>
            <ac:spMk id="9" creationId="{D4032415-C5CF-73E7-5743-2C46A52A0E13}"/>
          </ac:spMkLst>
        </pc:spChg>
        <pc:spChg chg="add del mod ord">
          <ac:chgData name="Jiayi Deng" userId="1a00fe64-c1f9-48ee-8835-dcb79118203c" providerId="ADAL" clId="{C5AC4572-7526-4C2E-B9F3-B195E90BCC87}" dt="2023-12-06T11:04:05.653" v="3001" actId="478"/>
          <ac:spMkLst>
            <pc:docMk/>
            <pc:sldMk cId="3593715306" sldId="321"/>
            <ac:spMk id="10" creationId="{4DB0A9EE-ACCC-6CBC-B855-BA9D93C81CB4}"/>
          </ac:spMkLst>
        </pc:spChg>
        <pc:spChg chg="add mod">
          <ac:chgData name="Jiayi Deng" userId="1a00fe64-c1f9-48ee-8835-dcb79118203c" providerId="ADAL" clId="{C5AC4572-7526-4C2E-B9F3-B195E90BCC87}" dt="2023-12-06T11:04:17.863" v="3031" actId="1076"/>
          <ac:spMkLst>
            <pc:docMk/>
            <pc:sldMk cId="3593715306" sldId="321"/>
            <ac:spMk id="13" creationId="{A276C512-B3E4-C01D-BFAE-09004BC85420}"/>
          </ac:spMkLst>
        </pc:spChg>
        <pc:graphicFrameChg chg="add mod ord modVis replST">
          <ac:chgData name="Jiayi Deng" userId="1a00fe64-c1f9-48ee-8835-dcb79118203c" providerId="ADAL" clId="{C5AC4572-7526-4C2E-B9F3-B195E90BCC87}" dt="2023-12-06T11:03:48.237" v="2997"/>
          <ac:graphicFrameMkLst>
            <pc:docMk/>
            <pc:sldMk cId="3593715306" sldId="321"/>
            <ac:graphicFrameMk id="11" creationId="{ED4F179F-9381-0373-743C-8808B01F6C84}"/>
          </ac:graphicFrameMkLst>
        </pc:graphicFrameChg>
        <pc:picChg chg="add mod">
          <ac:chgData name="Jiayi Deng" userId="1a00fe64-c1f9-48ee-8835-dcb79118203c" providerId="ADAL" clId="{C5AC4572-7526-4C2E-B9F3-B195E90BCC87}" dt="2023-12-06T11:04:06.355" v="3002" actId="1076"/>
          <ac:picMkLst>
            <pc:docMk/>
            <pc:sldMk cId="3593715306" sldId="321"/>
            <ac:picMk id="12" creationId="{4911F480-4970-571E-A32E-057B77E695A5}"/>
          </ac:picMkLst>
        </pc:picChg>
      </pc:sldChg>
      <pc:sldChg chg="addSp delSp modSp new add mod">
        <pc:chgData name="Jiayi Deng" userId="1a00fe64-c1f9-48ee-8835-dcb79118203c" providerId="ADAL" clId="{C5AC4572-7526-4C2E-B9F3-B195E90BCC87}" dt="2023-12-07T05:53:25.438" v="4262" actId="1037"/>
        <pc:sldMkLst>
          <pc:docMk/>
          <pc:sldMk cId="4204675178" sldId="322"/>
        </pc:sldMkLst>
        <pc:spChg chg="mod ord">
          <ac:chgData name="Jiayi Deng" userId="1a00fe64-c1f9-48ee-8835-dcb79118203c" providerId="ADAL" clId="{C5AC4572-7526-4C2E-B9F3-B195E90BCC87}" dt="2023-12-06T11:12:29.339" v="3158" actId="948"/>
          <ac:spMkLst>
            <pc:docMk/>
            <pc:sldMk cId="4204675178" sldId="322"/>
            <ac:spMk id="2" creationId="{6852EB3E-5202-6CB0-3E00-4C5DAADCAFE0}"/>
          </ac:spMkLst>
        </pc:spChg>
        <pc:spChg chg="add del mod modVis">
          <ac:chgData name="Jiayi Deng" userId="1a00fe64-c1f9-48ee-8835-dcb79118203c" providerId="ADAL" clId="{C5AC4572-7526-4C2E-B9F3-B195E90BCC87}" dt="2023-12-06T11:10:20.306" v="3116"/>
          <ac:spMkLst>
            <pc:docMk/>
            <pc:sldMk cId="4204675178" sldId="322"/>
            <ac:spMk id="4" creationId="{21F85D0B-243B-1D77-0323-367504F8CC2C}"/>
          </ac:spMkLst>
        </pc:spChg>
        <pc:spChg chg="mod">
          <ac:chgData name="Jiayi Deng" userId="1a00fe64-c1f9-48ee-8835-dcb79118203c" providerId="ADAL" clId="{C5AC4572-7526-4C2E-B9F3-B195E90BCC87}" dt="2023-12-07T05:48:15.892" v="4196" actId="1076"/>
          <ac:spMkLst>
            <pc:docMk/>
            <pc:sldMk cId="4204675178" sldId="322"/>
            <ac:spMk id="4" creationId="{33C31457-A553-E078-65C9-B26444798AEA}"/>
          </ac:spMkLst>
        </pc:spChg>
        <pc:spChg chg="add mod">
          <ac:chgData name="Jiayi Deng" userId="1a00fe64-c1f9-48ee-8835-dcb79118203c" providerId="ADAL" clId="{C5AC4572-7526-4C2E-B9F3-B195E90BCC87}" dt="2023-12-07T05:52:34.395" v="4246" actId="20577"/>
          <ac:spMkLst>
            <pc:docMk/>
            <pc:sldMk cId="4204675178" sldId="322"/>
            <ac:spMk id="8" creationId="{E9918DC9-22DC-2333-5859-48820492F261}"/>
          </ac:spMkLst>
        </pc:spChg>
        <pc:spChg chg="add del mod modVis">
          <ac:chgData name="Jiayi Deng" userId="1a00fe64-c1f9-48ee-8835-dcb79118203c" providerId="ADAL" clId="{C5AC4572-7526-4C2E-B9F3-B195E90BCC87}" dt="2023-12-06T11:12:29.357" v="3182"/>
          <ac:spMkLst>
            <pc:docMk/>
            <pc:sldMk cId="4204675178" sldId="322"/>
            <ac:spMk id="9" creationId="{0603F169-B8E4-7C0C-52CB-2410318F800E}"/>
          </ac:spMkLst>
        </pc:spChg>
        <pc:spChg chg="add mod">
          <ac:chgData name="Jiayi Deng" userId="1a00fe64-c1f9-48ee-8835-dcb79118203c" providerId="ADAL" clId="{C5AC4572-7526-4C2E-B9F3-B195E90BCC87}" dt="2023-12-07T05:53:25.438" v="4262" actId="1037"/>
          <ac:spMkLst>
            <pc:docMk/>
            <pc:sldMk cId="4204675178" sldId="322"/>
            <ac:spMk id="10" creationId="{F800D876-AF72-3ED0-6B9C-DBBAE363A481}"/>
          </ac:spMkLst>
        </pc:spChg>
        <pc:graphicFrameChg chg="add mod ord modVis replST">
          <ac:chgData name="Jiayi Deng" userId="1a00fe64-c1f9-48ee-8835-dcb79118203c" providerId="ADAL" clId="{C5AC4572-7526-4C2E-B9F3-B195E90BCC87}" dt="2023-12-06T11:12:29.360" v="3184"/>
          <ac:graphicFrameMkLst>
            <pc:docMk/>
            <pc:sldMk cId="4204675178" sldId="322"/>
            <ac:graphicFrameMk id="5" creationId="{FCACEE4E-2DDB-3004-EB15-78078078C6F9}"/>
          </ac:graphicFrameMkLst>
        </pc:graphicFrameChg>
        <pc:picChg chg="add del mod ord">
          <ac:chgData name="Jiayi Deng" userId="1a00fe64-c1f9-48ee-8835-dcb79118203c" providerId="ADAL" clId="{C5AC4572-7526-4C2E-B9F3-B195E90BCC87}" dt="2023-12-07T05:20:49.738" v="3837" actId="478"/>
          <ac:picMkLst>
            <pc:docMk/>
            <pc:sldMk cId="4204675178" sldId="322"/>
            <ac:picMk id="3" creationId="{40150014-3DFD-A45B-7931-8427B633C6E7}"/>
          </ac:picMkLst>
        </pc:picChg>
        <pc:picChg chg="add del mod ord">
          <ac:chgData name="Jiayi Deng" userId="1a00fe64-c1f9-48ee-8835-dcb79118203c" providerId="ADAL" clId="{C5AC4572-7526-4C2E-B9F3-B195E90BCC87}" dt="2023-12-07T05:32:31.952" v="3907" actId="478"/>
          <ac:picMkLst>
            <pc:docMk/>
            <pc:sldMk cId="4204675178" sldId="322"/>
            <ac:picMk id="6" creationId="{B077B315-7A66-E9F6-5FF1-154811DDBC89}"/>
          </ac:picMkLst>
        </pc:picChg>
        <pc:picChg chg="add del mod">
          <ac:chgData name="Jiayi Deng" userId="1a00fe64-c1f9-48ee-8835-dcb79118203c" providerId="ADAL" clId="{C5AC4572-7526-4C2E-B9F3-B195E90BCC87}" dt="2023-12-07T05:23:51.820" v="3844" actId="478"/>
          <ac:picMkLst>
            <pc:docMk/>
            <pc:sldMk cId="4204675178" sldId="322"/>
            <ac:picMk id="7" creationId="{7D9D44FC-25C6-9C84-6DD6-77FADC11A049}"/>
          </ac:picMkLst>
        </pc:picChg>
        <pc:picChg chg="add mod modCrop">
          <ac:chgData name="Jiayi Deng" userId="1a00fe64-c1f9-48ee-8835-dcb79118203c" providerId="ADAL" clId="{C5AC4572-7526-4C2E-B9F3-B195E90BCC87}" dt="2023-12-07T05:50:42.609" v="4216" actId="1076"/>
          <ac:picMkLst>
            <pc:docMk/>
            <pc:sldMk cId="4204675178" sldId="322"/>
            <ac:picMk id="9" creationId="{E51F17BC-2E1D-E43F-CC3C-9C327711FBC4}"/>
          </ac:picMkLst>
        </pc:picChg>
        <pc:picChg chg="add mod">
          <ac:chgData name="Jiayi Deng" userId="1a00fe64-c1f9-48ee-8835-dcb79118203c" providerId="ADAL" clId="{C5AC4572-7526-4C2E-B9F3-B195E90BCC87}" dt="2023-12-07T05:48:36.964" v="4202" actId="1076"/>
          <ac:picMkLst>
            <pc:docMk/>
            <pc:sldMk cId="4204675178" sldId="322"/>
            <ac:picMk id="11" creationId="{2593124A-790A-0A98-19F1-4E4D3BD9A26B}"/>
          </ac:picMkLst>
        </pc:picChg>
        <pc:picChg chg="add mod">
          <ac:chgData name="Jiayi Deng" userId="1a00fe64-c1f9-48ee-8835-dcb79118203c" providerId="ADAL" clId="{C5AC4572-7526-4C2E-B9F3-B195E90BCC87}" dt="2023-12-07T05:50:30.812" v="4214" actId="1076"/>
          <ac:picMkLst>
            <pc:docMk/>
            <pc:sldMk cId="4204675178" sldId="322"/>
            <ac:picMk id="13" creationId="{2817F344-9CB5-CB08-077E-26F70CB1DD81}"/>
          </ac:picMkLst>
        </pc:picChg>
        <pc:picChg chg="add del mod">
          <ac:chgData name="Jiayi Deng" userId="1a00fe64-c1f9-48ee-8835-dcb79118203c" providerId="ADAL" clId="{C5AC4572-7526-4C2E-B9F3-B195E90BCC87}" dt="2023-12-07T05:50:07.278" v="4208" actId="478"/>
          <ac:picMkLst>
            <pc:docMk/>
            <pc:sldMk cId="4204675178" sldId="322"/>
            <ac:picMk id="14" creationId="{650F3064-3A35-DB7C-A6A6-55ABD8BFC160}"/>
          </ac:picMkLst>
        </pc:picChg>
        <pc:picChg chg="add mod">
          <ac:chgData name="Jiayi Deng" userId="1a00fe64-c1f9-48ee-8835-dcb79118203c" providerId="ADAL" clId="{C5AC4572-7526-4C2E-B9F3-B195E90BCC87}" dt="2023-12-07T05:53:25.438" v="4262" actId="1037"/>
          <ac:picMkLst>
            <pc:docMk/>
            <pc:sldMk cId="4204675178" sldId="322"/>
            <ac:picMk id="16" creationId="{B4158030-6E86-88A2-C461-69FB73293C79}"/>
          </ac:picMkLst>
        </pc:picChg>
        <pc:picChg chg="add mod">
          <ac:chgData name="Jiayi Deng" userId="1a00fe64-c1f9-48ee-8835-dcb79118203c" providerId="ADAL" clId="{C5AC4572-7526-4C2E-B9F3-B195E90BCC87}" dt="2023-12-07T05:52:38.132" v="4247" actId="1076"/>
          <ac:picMkLst>
            <pc:docMk/>
            <pc:sldMk cId="4204675178" sldId="322"/>
            <ac:picMk id="18" creationId="{22750FFE-2C83-3946-4A52-CF830F771FBE}"/>
          </ac:picMkLst>
        </pc:picChg>
        <pc:picChg chg="add mod">
          <ac:chgData name="Jiayi Deng" userId="1a00fe64-c1f9-48ee-8835-dcb79118203c" providerId="ADAL" clId="{C5AC4572-7526-4C2E-B9F3-B195E90BCC87}" dt="2023-12-07T05:52:58.275" v="4251" actId="1076"/>
          <ac:picMkLst>
            <pc:docMk/>
            <pc:sldMk cId="4204675178" sldId="322"/>
            <ac:picMk id="3074" creationId="{A149FA41-8AED-10D7-5D1D-6BCF60D38070}"/>
          </ac:picMkLst>
        </pc:picChg>
      </pc:sldChg>
      <pc:sldChg chg="addSp delSp modSp new add mod modClrScheme chgLayout">
        <pc:chgData name="Jiayi Deng" userId="1a00fe64-c1f9-48ee-8835-dcb79118203c" providerId="ADAL" clId="{C5AC4572-7526-4C2E-B9F3-B195E90BCC87}" dt="2023-12-07T08:00:06.711" v="8065" actId="408"/>
        <pc:sldMkLst>
          <pc:docMk/>
          <pc:sldMk cId="4016263961" sldId="323"/>
        </pc:sldMkLst>
        <pc:spChg chg="del mod ord">
          <ac:chgData name="Jiayi Deng" userId="1a00fe64-c1f9-48ee-8835-dcb79118203c" providerId="ADAL" clId="{C5AC4572-7526-4C2E-B9F3-B195E90BCC87}" dt="2023-12-06T11:14:08.449" v="3188"/>
          <ac:spMkLst>
            <pc:docMk/>
            <pc:sldMk cId="4016263961" sldId="323"/>
            <ac:spMk id="2" creationId="{04763BC7-1309-132E-2FA5-9233DE95B91C}"/>
          </ac:spMkLst>
        </pc:spChg>
        <pc:spChg chg="del">
          <ac:chgData name="Jiayi Deng" userId="1a00fe64-c1f9-48ee-8835-dcb79118203c" providerId="ADAL" clId="{C5AC4572-7526-4C2E-B9F3-B195E90BCC87}" dt="2023-12-06T11:14:08.449" v="3188"/>
          <ac:spMkLst>
            <pc:docMk/>
            <pc:sldMk cId="4016263961" sldId="323"/>
            <ac:spMk id="3" creationId="{C1126922-73E7-6D8A-A1B5-FC40A9002385}"/>
          </ac:spMkLst>
        </pc:spChg>
        <pc:spChg chg="del">
          <ac:chgData name="Jiayi Deng" userId="1a00fe64-c1f9-48ee-8835-dcb79118203c" providerId="ADAL" clId="{C5AC4572-7526-4C2E-B9F3-B195E90BCC87}" dt="2023-12-06T11:14:08.449" v="3188"/>
          <ac:spMkLst>
            <pc:docMk/>
            <pc:sldMk cId="4016263961" sldId="323"/>
            <ac:spMk id="4" creationId="{7543C559-5CE9-27EC-9FA0-93BBDF5F6852}"/>
          </ac:spMkLst>
        </pc:spChg>
        <pc:spChg chg="del mod ord">
          <ac:chgData name="Jiayi Deng" userId="1a00fe64-c1f9-48ee-8835-dcb79118203c" providerId="ADAL" clId="{C5AC4572-7526-4C2E-B9F3-B195E90BCC87}" dt="2023-12-06T11:14:08.449" v="3188"/>
          <ac:spMkLst>
            <pc:docMk/>
            <pc:sldMk cId="4016263961" sldId="323"/>
            <ac:spMk id="5" creationId="{2B9CFCF5-2954-A1A0-E5CB-A25CB3FF3771}"/>
          </ac:spMkLst>
        </pc:spChg>
        <pc:spChg chg="del">
          <ac:chgData name="Jiayi Deng" userId="1a00fe64-c1f9-48ee-8835-dcb79118203c" providerId="ADAL" clId="{C5AC4572-7526-4C2E-B9F3-B195E90BCC87}" dt="2023-12-06T11:14:08.449" v="3188"/>
          <ac:spMkLst>
            <pc:docMk/>
            <pc:sldMk cId="4016263961" sldId="323"/>
            <ac:spMk id="6" creationId="{E89BA1E7-CFA9-465C-2615-C44E08F998BA}"/>
          </ac:spMkLst>
        </pc:spChg>
        <pc:spChg chg="add mod ord">
          <ac:chgData name="Jiayi Deng" userId="1a00fe64-c1f9-48ee-8835-dcb79118203c" providerId="ADAL" clId="{C5AC4572-7526-4C2E-B9F3-B195E90BCC87}" dt="2023-12-06T11:14:20.064" v="3254" actId="948"/>
          <ac:spMkLst>
            <pc:docMk/>
            <pc:sldMk cId="4016263961" sldId="323"/>
            <ac:spMk id="7" creationId="{F2AFEB64-4438-AD6D-D3AD-63B6287BCE54}"/>
          </ac:spMkLst>
        </pc:spChg>
        <pc:spChg chg="add mod ord">
          <ac:chgData name="Jiayi Deng" userId="1a00fe64-c1f9-48ee-8835-dcb79118203c" providerId="ADAL" clId="{C5AC4572-7526-4C2E-B9F3-B195E90BCC87}" dt="2023-12-07T07:59:29.060" v="8060" actId="948"/>
          <ac:spMkLst>
            <pc:docMk/>
            <pc:sldMk cId="4016263961" sldId="323"/>
            <ac:spMk id="8" creationId="{36B8DCB0-6F8C-A2F1-24A4-85186FE990B7}"/>
          </ac:spMkLst>
        </pc:spChg>
        <pc:spChg chg="add del mod modVis">
          <ac:chgData name="Jiayi Deng" userId="1a00fe64-c1f9-48ee-8835-dcb79118203c" providerId="ADAL" clId="{C5AC4572-7526-4C2E-B9F3-B195E90BCC87}" dt="2023-12-06T11:14:12.394" v="3234"/>
          <ac:spMkLst>
            <pc:docMk/>
            <pc:sldMk cId="4016263961" sldId="323"/>
            <ac:spMk id="10" creationId="{A3CC4A1B-4A8F-AEEF-B8B6-C7A01ADAB6AC}"/>
          </ac:spMkLst>
        </pc:spChg>
        <pc:spChg chg="add del mod modVis">
          <ac:chgData name="Jiayi Deng" userId="1a00fe64-c1f9-48ee-8835-dcb79118203c" providerId="ADAL" clId="{C5AC4572-7526-4C2E-B9F3-B195E90BCC87}" dt="2023-12-06T11:14:20.084" v="3278"/>
          <ac:spMkLst>
            <pc:docMk/>
            <pc:sldMk cId="4016263961" sldId="323"/>
            <ac:spMk id="11" creationId="{598837BA-06D7-5535-307B-78DE42429837}"/>
          </ac:spMkLst>
        </pc:spChg>
        <pc:graphicFrameChg chg="add mod ord modVis replST">
          <ac:chgData name="Jiayi Deng" userId="1a00fe64-c1f9-48ee-8835-dcb79118203c" providerId="ADAL" clId="{C5AC4572-7526-4C2E-B9F3-B195E90BCC87}" dt="2023-12-06T11:14:20.087" v="3280"/>
          <ac:graphicFrameMkLst>
            <pc:docMk/>
            <pc:sldMk cId="4016263961" sldId="323"/>
            <ac:graphicFrameMk id="9" creationId="{D6896AB2-BD39-CECC-53C0-5A65E8C25E5F}"/>
          </ac:graphicFrameMkLst>
        </pc:graphicFrameChg>
        <pc:picChg chg="add mod">
          <ac:chgData name="Jiayi Deng" userId="1a00fe64-c1f9-48ee-8835-dcb79118203c" providerId="ADAL" clId="{C5AC4572-7526-4C2E-B9F3-B195E90BCC87}" dt="2023-12-07T07:59:41.123" v="8061" actId="1076"/>
          <ac:picMkLst>
            <pc:docMk/>
            <pc:sldMk cId="4016263961" sldId="323"/>
            <ac:picMk id="3" creationId="{DC03673A-B63B-37F8-DFD3-C91928F78C54}"/>
          </ac:picMkLst>
        </pc:picChg>
        <pc:picChg chg="add mod">
          <ac:chgData name="Jiayi Deng" userId="1a00fe64-c1f9-48ee-8835-dcb79118203c" providerId="ADAL" clId="{C5AC4572-7526-4C2E-B9F3-B195E90BCC87}" dt="2023-12-07T08:00:06.711" v="8065" actId="408"/>
          <ac:picMkLst>
            <pc:docMk/>
            <pc:sldMk cId="4016263961" sldId="323"/>
            <ac:picMk id="4" creationId="{6ECE09C7-8550-759E-0DEA-D407B9AA0805}"/>
          </ac:picMkLst>
        </pc:picChg>
        <pc:picChg chg="add mod">
          <ac:chgData name="Jiayi Deng" userId="1a00fe64-c1f9-48ee-8835-dcb79118203c" providerId="ADAL" clId="{C5AC4572-7526-4C2E-B9F3-B195E90BCC87}" dt="2023-12-07T08:00:06.711" v="8065" actId="408"/>
          <ac:picMkLst>
            <pc:docMk/>
            <pc:sldMk cId="4016263961" sldId="323"/>
            <ac:picMk id="5" creationId="{5625C738-9B9C-D499-9C34-40CEB090260C}"/>
          </ac:picMkLst>
        </pc:picChg>
        <pc:picChg chg="add mod">
          <ac:chgData name="Jiayi Deng" userId="1a00fe64-c1f9-48ee-8835-dcb79118203c" providerId="ADAL" clId="{C5AC4572-7526-4C2E-B9F3-B195E90BCC87}" dt="2023-12-07T08:00:06.711" v="8065" actId="408"/>
          <ac:picMkLst>
            <pc:docMk/>
            <pc:sldMk cId="4016263961" sldId="323"/>
            <ac:picMk id="6" creationId="{39A26F8F-0A7C-9CBE-12D9-E224D79F3B57}"/>
          </ac:picMkLst>
        </pc:picChg>
        <pc:picChg chg="add mod">
          <ac:chgData name="Jiayi Deng" userId="1a00fe64-c1f9-48ee-8835-dcb79118203c" providerId="ADAL" clId="{C5AC4572-7526-4C2E-B9F3-B195E90BCC87}" dt="2023-12-07T08:00:06.711" v="8065" actId="408"/>
          <ac:picMkLst>
            <pc:docMk/>
            <pc:sldMk cId="4016263961" sldId="323"/>
            <ac:picMk id="10" creationId="{5D3FE5DF-51F1-4A4D-1A77-2B7E4B5E5C8C}"/>
          </ac:picMkLst>
        </pc:picChg>
        <pc:picChg chg="add mod">
          <ac:chgData name="Jiayi Deng" userId="1a00fe64-c1f9-48ee-8835-dcb79118203c" providerId="ADAL" clId="{C5AC4572-7526-4C2E-B9F3-B195E90BCC87}" dt="2023-12-07T08:00:00.435" v="8064" actId="1035"/>
          <ac:picMkLst>
            <pc:docMk/>
            <pc:sldMk cId="4016263961" sldId="323"/>
            <ac:picMk id="11" creationId="{4AB066CC-85DE-C448-64A3-4951BCFB4890}"/>
          </ac:picMkLst>
        </pc:picChg>
      </pc:sldChg>
      <pc:sldChg chg="addSp delSp modSp mod modNotesTx">
        <pc:chgData name="Jiayi Deng" userId="1a00fe64-c1f9-48ee-8835-dcb79118203c" providerId="ADAL" clId="{C5AC4572-7526-4C2E-B9F3-B195E90BCC87}" dt="2023-12-07T05:31:31.176" v="3900" actId="1038"/>
        <pc:sldMkLst>
          <pc:docMk/>
          <pc:sldMk cId="364185782" sldId="344"/>
        </pc:sldMkLst>
        <pc:spChg chg="del mod">
          <ac:chgData name="Jiayi Deng" userId="1a00fe64-c1f9-48ee-8835-dcb79118203c" providerId="ADAL" clId="{C5AC4572-7526-4C2E-B9F3-B195E90BCC87}" dt="2023-12-07T04:57:01.670" v="3388" actId="478"/>
          <ac:spMkLst>
            <pc:docMk/>
            <pc:sldMk cId="364185782" sldId="344"/>
            <ac:spMk id="10" creationId="{EFE33755-371F-6012-85D2-2D3909A727A4}"/>
          </ac:spMkLst>
        </pc:spChg>
        <pc:spChg chg="add mod">
          <ac:chgData name="Jiayi Deng" userId="1a00fe64-c1f9-48ee-8835-dcb79118203c" providerId="ADAL" clId="{C5AC4572-7526-4C2E-B9F3-B195E90BCC87}" dt="2023-12-07T05:14:26.752" v="3815" actId="1036"/>
          <ac:spMkLst>
            <pc:docMk/>
            <pc:sldMk cId="364185782" sldId="344"/>
            <ac:spMk id="12" creationId="{E26B6962-00EB-3FD7-6BB9-F219D0B79694}"/>
          </ac:spMkLst>
        </pc:spChg>
        <pc:spChg chg="add del mod">
          <ac:chgData name="Jiayi Deng" userId="1a00fe64-c1f9-48ee-8835-dcb79118203c" providerId="ADAL" clId="{C5AC4572-7526-4C2E-B9F3-B195E90BCC87}" dt="2023-12-07T05:00:23.178" v="3417" actId="478"/>
          <ac:spMkLst>
            <pc:docMk/>
            <pc:sldMk cId="364185782" sldId="344"/>
            <ac:spMk id="14" creationId="{B6D50554-B3A5-68E9-B0B5-6B8BDB84F088}"/>
          </ac:spMkLst>
        </pc:spChg>
        <pc:spChg chg="add mod">
          <ac:chgData name="Jiayi Deng" userId="1a00fe64-c1f9-48ee-8835-dcb79118203c" providerId="ADAL" clId="{C5AC4572-7526-4C2E-B9F3-B195E90BCC87}" dt="2023-12-07T05:13:48.444" v="3809" actId="1038"/>
          <ac:spMkLst>
            <pc:docMk/>
            <pc:sldMk cId="364185782" sldId="344"/>
            <ac:spMk id="15" creationId="{AC3C5E3F-7C5B-87E5-1EF6-46C197D22A36}"/>
          </ac:spMkLst>
        </pc:spChg>
        <pc:spChg chg="add mod">
          <ac:chgData name="Jiayi Deng" userId="1a00fe64-c1f9-48ee-8835-dcb79118203c" providerId="ADAL" clId="{C5AC4572-7526-4C2E-B9F3-B195E90BCC87}" dt="2023-12-07T05:13:40.482" v="3797" actId="1038"/>
          <ac:spMkLst>
            <pc:docMk/>
            <pc:sldMk cId="364185782" sldId="344"/>
            <ac:spMk id="17" creationId="{E6D9D1FE-7B89-0A52-0A1F-1065B2C41EFE}"/>
          </ac:spMkLst>
        </pc:spChg>
        <pc:spChg chg="add mod">
          <ac:chgData name="Jiayi Deng" userId="1a00fe64-c1f9-48ee-8835-dcb79118203c" providerId="ADAL" clId="{C5AC4572-7526-4C2E-B9F3-B195E90BCC87}" dt="2023-12-07T05:12:27.781" v="3785" actId="1037"/>
          <ac:spMkLst>
            <pc:docMk/>
            <pc:sldMk cId="364185782" sldId="344"/>
            <ac:spMk id="20" creationId="{1772B85D-0466-3B67-AF87-75AF3DD1EE54}"/>
          </ac:spMkLst>
        </pc:spChg>
        <pc:spChg chg="add del">
          <ac:chgData name="Jiayi Deng" userId="1a00fe64-c1f9-48ee-8835-dcb79118203c" providerId="ADAL" clId="{C5AC4572-7526-4C2E-B9F3-B195E90BCC87}" dt="2023-12-07T05:06:07.948" v="3524" actId="478"/>
          <ac:spMkLst>
            <pc:docMk/>
            <pc:sldMk cId="364185782" sldId="344"/>
            <ac:spMk id="21" creationId="{A05262CF-5F6D-8E3A-D96C-6F14E4531680}"/>
          </ac:spMkLst>
        </pc:spChg>
        <pc:spChg chg="add del">
          <ac:chgData name="Jiayi Deng" userId="1a00fe64-c1f9-48ee-8835-dcb79118203c" providerId="ADAL" clId="{C5AC4572-7526-4C2E-B9F3-B195E90BCC87}" dt="2023-12-07T05:06:29.317" v="3526" actId="478"/>
          <ac:spMkLst>
            <pc:docMk/>
            <pc:sldMk cId="364185782" sldId="344"/>
            <ac:spMk id="22" creationId="{40A30CF5-C02D-C36D-A64C-BE039D31C6AF}"/>
          </ac:spMkLst>
        </pc:spChg>
        <pc:spChg chg="add mod">
          <ac:chgData name="Jiayi Deng" userId="1a00fe64-c1f9-48ee-8835-dcb79118203c" providerId="ADAL" clId="{C5AC4572-7526-4C2E-B9F3-B195E90BCC87}" dt="2023-12-07T05:12:27.781" v="3785" actId="1037"/>
          <ac:spMkLst>
            <pc:docMk/>
            <pc:sldMk cId="364185782" sldId="344"/>
            <ac:spMk id="24" creationId="{931BC486-0B0A-D907-D7A4-C3661B36CA44}"/>
          </ac:spMkLst>
        </pc:spChg>
        <pc:spChg chg="mod">
          <ac:chgData name="Jiayi Deng" userId="1a00fe64-c1f9-48ee-8835-dcb79118203c" providerId="ADAL" clId="{C5AC4572-7526-4C2E-B9F3-B195E90BCC87}" dt="2023-12-07T05:12:27.781" v="3785" actId="1037"/>
          <ac:spMkLst>
            <pc:docMk/>
            <pc:sldMk cId="364185782" sldId="344"/>
            <ac:spMk id="908" creationId="{00000000-0000-0000-0000-000000000000}"/>
          </ac:spMkLst>
        </pc:spChg>
        <pc:spChg chg="del mod">
          <ac:chgData name="Jiayi Deng" userId="1a00fe64-c1f9-48ee-8835-dcb79118203c" providerId="ADAL" clId="{C5AC4572-7526-4C2E-B9F3-B195E90BCC87}" dt="2023-12-07T04:56:59.889" v="3387" actId="478"/>
          <ac:spMkLst>
            <pc:docMk/>
            <pc:sldMk cId="364185782" sldId="344"/>
            <ac:spMk id="914" creationId="{00000000-0000-0000-0000-000000000000}"/>
          </ac:spMkLst>
        </pc:spChg>
        <pc:spChg chg="del">
          <ac:chgData name="Jiayi Deng" userId="1a00fe64-c1f9-48ee-8835-dcb79118203c" providerId="ADAL" clId="{C5AC4572-7526-4C2E-B9F3-B195E90BCC87}" dt="2023-12-07T04:45:45.799" v="3281" actId="478"/>
          <ac:spMkLst>
            <pc:docMk/>
            <pc:sldMk cId="364185782" sldId="344"/>
            <ac:spMk id="919" creationId="{00000000-0000-0000-0000-000000000000}"/>
          </ac:spMkLst>
        </pc:spChg>
        <pc:spChg chg="del">
          <ac:chgData name="Jiayi Deng" userId="1a00fe64-c1f9-48ee-8835-dcb79118203c" providerId="ADAL" clId="{C5AC4572-7526-4C2E-B9F3-B195E90BCC87}" dt="2023-12-07T04:45:48.372" v="3283" actId="478"/>
          <ac:spMkLst>
            <pc:docMk/>
            <pc:sldMk cId="364185782" sldId="344"/>
            <ac:spMk id="920" creationId="{00000000-0000-0000-0000-000000000000}"/>
          </ac:spMkLst>
        </pc:spChg>
        <pc:spChg chg="del">
          <ac:chgData name="Jiayi Deng" userId="1a00fe64-c1f9-48ee-8835-dcb79118203c" providerId="ADAL" clId="{C5AC4572-7526-4C2E-B9F3-B195E90BCC87}" dt="2023-12-07T04:45:50.232" v="3286" actId="478"/>
          <ac:spMkLst>
            <pc:docMk/>
            <pc:sldMk cId="364185782" sldId="344"/>
            <ac:spMk id="922" creationId="{00000000-0000-0000-0000-000000000000}"/>
          </ac:spMkLst>
        </pc:spChg>
        <pc:spChg chg="del">
          <ac:chgData name="Jiayi Deng" userId="1a00fe64-c1f9-48ee-8835-dcb79118203c" providerId="ADAL" clId="{C5AC4572-7526-4C2E-B9F3-B195E90BCC87}" dt="2023-12-07T04:45:49.702" v="3285" actId="478"/>
          <ac:spMkLst>
            <pc:docMk/>
            <pc:sldMk cId="364185782" sldId="344"/>
            <ac:spMk id="932" creationId="{00000000-0000-0000-0000-000000000000}"/>
          </ac:spMkLst>
        </pc:spChg>
        <pc:grpChg chg="del">
          <ac:chgData name="Jiayi Deng" userId="1a00fe64-c1f9-48ee-8835-dcb79118203c" providerId="ADAL" clId="{C5AC4572-7526-4C2E-B9F3-B195E90BCC87}" dt="2023-12-07T04:45:48.970" v="3284" actId="478"/>
          <ac:grpSpMkLst>
            <pc:docMk/>
            <pc:sldMk cId="364185782" sldId="344"/>
            <ac:grpSpMk id="927" creationId="{00000000-0000-0000-0000-000000000000}"/>
          </ac:grpSpMkLst>
        </pc:grpChg>
        <pc:grpChg chg="del">
          <ac:chgData name="Jiayi Deng" userId="1a00fe64-c1f9-48ee-8835-dcb79118203c" providerId="ADAL" clId="{C5AC4572-7526-4C2E-B9F3-B195E90BCC87}" dt="2023-12-07T04:45:47.042" v="3282" actId="478"/>
          <ac:grpSpMkLst>
            <pc:docMk/>
            <pc:sldMk cId="364185782" sldId="344"/>
            <ac:grpSpMk id="933" creationId="{00000000-0000-0000-0000-000000000000}"/>
          </ac:grpSpMkLst>
        </pc:grpChg>
        <pc:picChg chg="add del">
          <ac:chgData name="Jiayi Deng" userId="1a00fe64-c1f9-48ee-8835-dcb79118203c" providerId="ADAL" clId="{C5AC4572-7526-4C2E-B9F3-B195E90BCC87}" dt="2023-12-07T04:49:23.466" v="3295" actId="478"/>
          <ac:picMkLst>
            <pc:docMk/>
            <pc:sldMk cId="364185782" sldId="344"/>
            <ac:picMk id="3" creationId="{1DA2527A-A33D-4BF4-8BF0-47E4F94A980C}"/>
          </ac:picMkLst>
        </pc:picChg>
        <pc:picChg chg="add mod">
          <ac:chgData name="Jiayi Deng" userId="1a00fe64-c1f9-48ee-8835-dcb79118203c" providerId="ADAL" clId="{C5AC4572-7526-4C2E-B9F3-B195E90BCC87}" dt="2023-12-07T05:30:26.638" v="3857" actId="1076"/>
          <ac:picMkLst>
            <pc:docMk/>
            <pc:sldMk cId="364185782" sldId="344"/>
            <ac:picMk id="5" creationId="{2AD92CE6-1099-7CFA-3E67-E7C4FE3E383E}"/>
          </ac:picMkLst>
        </pc:picChg>
        <pc:picChg chg="add del mod">
          <ac:chgData name="Jiayi Deng" userId="1a00fe64-c1f9-48ee-8835-dcb79118203c" providerId="ADAL" clId="{C5AC4572-7526-4C2E-B9F3-B195E90BCC87}" dt="2023-12-07T04:56:45.344" v="3383" actId="478"/>
          <ac:picMkLst>
            <pc:docMk/>
            <pc:sldMk cId="364185782" sldId="344"/>
            <ac:picMk id="7" creationId="{FEF6FA98-C1FD-F753-DF26-0C479DAA9AE1}"/>
          </ac:picMkLst>
        </pc:picChg>
        <pc:picChg chg="add del mod">
          <ac:chgData name="Jiayi Deng" userId="1a00fe64-c1f9-48ee-8835-dcb79118203c" providerId="ADAL" clId="{C5AC4572-7526-4C2E-B9F3-B195E90BCC87}" dt="2023-12-07T04:56:56.854" v="3386" actId="478"/>
          <ac:picMkLst>
            <pc:docMk/>
            <pc:sldMk cId="364185782" sldId="344"/>
            <ac:picMk id="8" creationId="{54B36C9A-9574-DDB6-4C00-F24B2657A26F}"/>
          </ac:picMkLst>
        </pc:picChg>
        <pc:picChg chg="add mod">
          <ac:chgData name="Jiayi Deng" userId="1a00fe64-c1f9-48ee-8835-dcb79118203c" providerId="ADAL" clId="{C5AC4572-7526-4C2E-B9F3-B195E90BCC87}" dt="2023-12-07T05:15:54.792" v="3832" actId="1036"/>
          <ac:picMkLst>
            <pc:docMk/>
            <pc:sldMk cId="364185782" sldId="344"/>
            <ac:picMk id="11" creationId="{70CAAF93-0134-C07D-9333-771F798C74D7}"/>
          </ac:picMkLst>
        </pc:picChg>
        <pc:picChg chg="add del mod">
          <ac:chgData name="Jiayi Deng" userId="1a00fe64-c1f9-48ee-8835-dcb79118203c" providerId="ADAL" clId="{C5AC4572-7526-4C2E-B9F3-B195E90BCC87}" dt="2023-12-07T05:09:09.148" v="3582" actId="478"/>
          <ac:picMkLst>
            <pc:docMk/>
            <pc:sldMk cId="364185782" sldId="344"/>
            <ac:picMk id="13" creationId="{8DF85CB4-DB51-A3C6-0CF5-4992819E8EB0}"/>
          </ac:picMkLst>
        </pc:picChg>
        <pc:picChg chg="add del mod">
          <ac:chgData name="Jiayi Deng" userId="1a00fe64-c1f9-48ee-8835-dcb79118203c" providerId="ADAL" clId="{C5AC4572-7526-4C2E-B9F3-B195E90BCC87}" dt="2023-12-07T05:09:09.814" v="3583" actId="478"/>
          <ac:picMkLst>
            <pc:docMk/>
            <pc:sldMk cId="364185782" sldId="344"/>
            <ac:picMk id="16" creationId="{059C7824-2BDA-1108-C28F-10F7E4E9624A}"/>
          </ac:picMkLst>
        </pc:picChg>
        <pc:picChg chg="add mod">
          <ac:chgData name="Jiayi Deng" userId="1a00fe64-c1f9-48ee-8835-dcb79118203c" providerId="ADAL" clId="{C5AC4572-7526-4C2E-B9F3-B195E90BCC87}" dt="2023-12-07T05:15:54.792" v="3832" actId="1036"/>
          <ac:picMkLst>
            <pc:docMk/>
            <pc:sldMk cId="364185782" sldId="344"/>
            <ac:picMk id="18" creationId="{507DE667-7AD4-6AFC-1771-D52A365817A6}"/>
          </ac:picMkLst>
        </pc:picChg>
        <pc:picChg chg="add del mod">
          <ac:chgData name="Jiayi Deng" userId="1a00fe64-c1f9-48ee-8835-dcb79118203c" providerId="ADAL" clId="{C5AC4572-7526-4C2E-B9F3-B195E90BCC87}" dt="2023-12-07T05:09:10.381" v="3584" actId="478"/>
          <ac:picMkLst>
            <pc:docMk/>
            <pc:sldMk cId="364185782" sldId="344"/>
            <ac:picMk id="19" creationId="{FAD37CE7-04A9-F0C1-9917-AC9C4BC6F80F}"/>
          </ac:picMkLst>
        </pc:picChg>
        <pc:picChg chg="add del mod">
          <ac:chgData name="Jiayi Deng" userId="1a00fe64-c1f9-48ee-8835-dcb79118203c" providerId="ADAL" clId="{C5AC4572-7526-4C2E-B9F3-B195E90BCC87}" dt="2023-12-07T05:09:10.930" v="3585" actId="478"/>
          <ac:picMkLst>
            <pc:docMk/>
            <pc:sldMk cId="364185782" sldId="344"/>
            <ac:picMk id="23" creationId="{68AC6AE3-1F83-9D92-C2D2-B3D4083669A9}"/>
          </ac:picMkLst>
        </pc:picChg>
        <pc:picChg chg="add mod">
          <ac:chgData name="Jiayi Deng" userId="1a00fe64-c1f9-48ee-8835-dcb79118203c" providerId="ADAL" clId="{C5AC4572-7526-4C2E-B9F3-B195E90BCC87}" dt="2023-12-07T05:15:54.792" v="3832" actId="1036"/>
          <ac:picMkLst>
            <pc:docMk/>
            <pc:sldMk cId="364185782" sldId="344"/>
            <ac:picMk id="25" creationId="{18241D1D-AF43-F9CE-30C6-B2E86616D7F3}"/>
          </ac:picMkLst>
        </pc:picChg>
        <pc:picChg chg="add mod">
          <ac:chgData name="Jiayi Deng" userId="1a00fe64-c1f9-48ee-8835-dcb79118203c" providerId="ADAL" clId="{C5AC4572-7526-4C2E-B9F3-B195E90BCC87}" dt="2023-12-07T05:15:54.792" v="3832" actId="1036"/>
          <ac:picMkLst>
            <pc:docMk/>
            <pc:sldMk cId="364185782" sldId="344"/>
            <ac:picMk id="26" creationId="{E7A5A94B-4D42-FAA0-72E0-BBB3A215A086}"/>
          </ac:picMkLst>
        </pc:picChg>
        <pc:picChg chg="add mod">
          <ac:chgData name="Jiayi Deng" userId="1a00fe64-c1f9-48ee-8835-dcb79118203c" providerId="ADAL" clId="{C5AC4572-7526-4C2E-B9F3-B195E90BCC87}" dt="2023-12-07T05:15:54.792" v="3832" actId="1036"/>
          <ac:picMkLst>
            <pc:docMk/>
            <pc:sldMk cId="364185782" sldId="344"/>
            <ac:picMk id="27" creationId="{746811F6-1489-57C7-4B16-874539C9C144}"/>
          </ac:picMkLst>
        </pc:picChg>
        <pc:picChg chg="add mod">
          <ac:chgData name="Jiayi Deng" userId="1a00fe64-c1f9-48ee-8835-dcb79118203c" providerId="ADAL" clId="{C5AC4572-7526-4C2E-B9F3-B195E90BCC87}" dt="2023-12-07T05:15:54.792" v="3832" actId="1036"/>
          <ac:picMkLst>
            <pc:docMk/>
            <pc:sldMk cId="364185782" sldId="344"/>
            <ac:picMk id="28" creationId="{544BD9A8-35E7-7D28-8CFF-A5B5D8C64108}"/>
          </ac:picMkLst>
        </pc:picChg>
        <pc:picChg chg="add del mod">
          <ac:chgData name="Jiayi Deng" userId="1a00fe64-c1f9-48ee-8835-dcb79118203c" providerId="ADAL" clId="{C5AC4572-7526-4C2E-B9F3-B195E90BCC87}" dt="2023-12-07T04:50:58.987" v="3298" actId="478"/>
          <ac:picMkLst>
            <pc:docMk/>
            <pc:sldMk cId="364185782" sldId="344"/>
            <ac:picMk id="1026" creationId="{41713595-9D4E-EB65-48DF-DAA47E3AFFEB}"/>
          </ac:picMkLst>
        </pc:picChg>
        <pc:picChg chg="add mod">
          <ac:chgData name="Jiayi Deng" userId="1a00fe64-c1f9-48ee-8835-dcb79118203c" providerId="ADAL" clId="{C5AC4572-7526-4C2E-B9F3-B195E90BCC87}" dt="2023-12-07T05:30:46.411" v="3884" actId="1035"/>
          <ac:picMkLst>
            <pc:docMk/>
            <pc:sldMk cId="364185782" sldId="344"/>
            <ac:picMk id="1028" creationId="{0CF85E39-39CF-6318-B6F9-1BA6E7F44A76}"/>
          </ac:picMkLst>
        </pc:picChg>
        <pc:picChg chg="add mod">
          <ac:chgData name="Jiayi Deng" userId="1a00fe64-c1f9-48ee-8835-dcb79118203c" providerId="ADAL" clId="{C5AC4572-7526-4C2E-B9F3-B195E90BCC87}" dt="2023-12-07T05:30:30.210" v="3859" actId="1076"/>
          <ac:picMkLst>
            <pc:docMk/>
            <pc:sldMk cId="364185782" sldId="344"/>
            <ac:picMk id="1030" creationId="{997E4AE9-B9CC-BD1A-606C-FEFED5891654}"/>
          </ac:picMkLst>
        </pc:picChg>
        <pc:picChg chg="add mod">
          <ac:chgData name="Jiayi Deng" userId="1a00fe64-c1f9-48ee-8835-dcb79118203c" providerId="ADAL" clId="{C5AC4572-7526-4C2E-B9F3-B195E90BCC87}" dt="2023-12-07T05:15:54.792" v="3832" actId="1036"/>
          <ac:picMkLst>
            <pc:docMk/>
            <pc:sldMk cId="364185782" sldId="344"/>
            <ac:picMk id="1032" creationId="{5D51B5C7-3C1B-B971-7559-E712A905C27A}"/>
          </ac:picMkLst>
        </pc:picChg>
        <pc:picChg chg="add mod">
          <ac:chgData name="Jiayi Deng" userId="1a00fe64-c1f9-48ee-8835-dcb79118203c" providerId="ADAL" clId="{C5AC4572-7526-4C2E-B9F3-B195E90BCC87}" dt="2023-12-07T05:15:54.792" v="3832" actId="1036"/>
          <ac:picMkLst>
            <pc:docMk/>
            <pc:sldMk cId="364185782" sldId="344"/>
            <ac:picMk id="1036" creationId="{13CE4688-D523-B1D5-24B4-2F8E09D7A2C2}"/>
          </ac:picMkLst>
        </pc:picChg>
        <pc:picChg chg="add mod">
          <ac:chgData name="Jiayi Deng" userId="1a00fe64-c1f9-48ee-8835-dcb79118203c" providerId="ADAL" clId="{C5AC4572-7526-4C2E-B9F3-B195E90BCC87}" dt="2023-12-07T05:15:54.792" v="3832" actId="1036"/>
          <ac:picMkLst>
            <pc:docMk/>
            <pc:sldMk cId="364185782" sldId="344"/>
            <ac:picMk id="1038" creationId="{0B82FB93-95E3-427D-C684-ED7500F65C71}"/>
          </ac:picMkLst>
        </pc:picChg>
        <pc:picChg chg="add mod">
          <ac:chgData name="Jiayi Deng" userId="1a00fe64-c1f9-48ee-8835-dcb79118203c" providerId="ADAL" clId="{C5AC4572-7526-4C2E-B9F3-B195E90BCC87}" dt="2023-12-07T05:15:54.792" v="3832" actId="1036"/>
          <ac:picMkLst>
            <pc:docMk/>
            <pc:sldMk cId="364185782" sldId="344"/>
            <ac:picMk id="1040" creationId="{E8561E7D-84B2-A3F5-AD80-2E76FA6ECCD9}"/>
          </ac:picMkLst>
        </pc:picChg>
        <pc:picChg chg="add del mod">
          <ac:chgData name="Jiayi Deng" userId="1a00fe64-c1f9-48ee-8835-dcb79118203c" providerId="ADAL" clId="{C5AC4572-7526-4C2E-B9F3-B195E90BCC87}" dt="2023-12-07T05:03:44.967" v="3461" actId="478"/>
          <ac:picMkLst>
            <pc:docMk/>
            <pc:sldMk cId="364185782" sldId="344"/>
            <ac:picMk id="1042" creationId="{7488A783-CB66-27C5-870C-89CA288DFA1D}"/>
          </ac:picMkLst>
        </pc:picChg>
        <pc:picChg chg="add mod">
          <ac:chgData name="Jiayi Deng" userId="1a00fe64-c1f9-48ee-8835-dcb79118203c" providerId="ADAL" clId="{C5AC4572-7526-4C2E-B9F3-B195E90BCC87}" dt="2023-12-07T05:15:54.792" v="3832" actId="1036"/>
          <ac:picMkLst>
            <pc:docMk/>
            <pc:sldMk cId="364185782" sldId="344"/>
            <ac:picMk id="1044" creationId="{2F051B98-B7C6-0078-C041-7E9C6E802F63}"/>
          </ac:picMkLst>
        </pc:picChg>
        <pc:picChg chg="add mod">
          <ac:chgData name="Jiayi Deng" userId="1a00fe64-c1f9-48ee-8835-dcb79118203c" providerId="ADAL" clId="{C5AC4572-7526-4C2E-B9F3-B195E90BCC87}" dt="2023-12-07T05:31:31.176" v="3900" actId="1038"/>
          <ac:picMkLst>
            <pc:docMk/>
            <pc:sldMk cId="364185782" sldId="344"/>
            <ac:picMk id="1050" creationId="{63D13C51-42FC-CB62-A30B-F66168DC2D06}"/>
          </ac:picMkLst>
        </pc:picChg>
        <pc:cxnChg chg="del mod">
          <ac:chgData name="Jiayi Deng" userId="1a00fe64-c1f9-48ee-8835-dcb79118203c" providerId="ADAL" clId="{C5AC4572-7526-4C2E-B9F3-B195E90BCC87}" dt="2023-12-07T04:45:58.593" v="3290" actId="478"/>
          <ac:cxnSpMkLst>
            <pc:docMk/>
            <pc:sldMk cId="364185782" sldId="344"/>
            <ac:cxnSpMk id="918" creationId="{00000000-0000-0000-0000-000000000000}"/>
          </ac:cxnSpMkLst>
        </pc:cxnChg>
        <pc:cxnChg chg="del mod">
          <ac:chgData name="Jiayi Deng" userId="1a00fe64-c1f9-48ee-8835-dcb79118203c" providerId="ADAL" clId="{C5AC4572-7526-4C2E-B9F3-B195E90BCC87}" dt="2023-12-07T04:45:59.681" v="3291" actId="478"/>
          <ac:cxnSpMkLst>
            <pc:docMk/>
            <pc:sldMk cId="364185782" sldId="344"/>
            <ac:cxnSpMk id="921" creationId="{00000000-0000-0000-0000-000000000000}"/>
          </ac:cxnSpMkLst>
        </pc:cxnChg>
      </pc:sldChg>
      <pc:sldChg chg="modSp mod">
        <pc:chgData name="Jiayi Deng" userId="1a00fe64-c1f9-48ee-8835-dcb79118203c" providerId="ADAL" clId="{C5AC4572-7526-4C2E-B9F3-B195E90BCC87}" dt="2023-12-07T08:25:55.987" v="8567" actId="20577"/>
        <pc:sldMkLst>
          <pc:docMk/>
          <pc:sldMk cId="2336100853" sldId="345"/>
        </pc:sldMkLst>
        <pc:spChg chg="mod">
          <ac:chgData name="Jiayi Deng" userId="1a00fe64-c1f9-48ee-8835-dcb79118203c" providerId="ADAL" clId="{C5AC4572-7526-4C2E-B9F3-B195E90BCC87}" dt="2023-12-07T08:25:55.987" v="8567" actId="20577"/>
          <ac:spMkLst>
            <pc:docMk/>
            <pc:sldMk cId="2336100853" sldId="345"/>
            <ac:spMk id="7" creationId="{E809E35E-5CB0-FA81-87CA-6051C8E1716C}"/>
          </ac:spMkLst>
        </pc:spChg>
      </pc:sldChg>
      <pc:sldMasterChg chg="addSp modSp mod delSldLayout">
        <pc:chgData name="Jiayi Deng" userId="1a00fe64-c1f9-48ee-8835-dcb79118203c" providerId="ADAL" clId="{C5AC4572-7526-4C2E-B9F3-B195E90BCC87}" dt="2023-12-06T10:23:03.131" v="1440" actId="47"/>
        <pc:sldMasterMkLst>
          <pc:docMk/>
          <pc:sldMasterMk cId="0" sldId="2147483683"/>
        </pc:sldMasterMkLst>
        <pc:graphicFrameChg chg="add mod ord modVis replST">
          <ac:chgData name="Jiayi Deng" userId="1a00fe64-c1f9-48ee-8835-dcb79118203c" providerId="ADAL" clId="{C5AC4572-7526-4C2E-B9F3-B195E90BCC87}" dt="2023-12-06T09:23:49.323" v="21"/>
          <ac:graphicFrameMkLst>
            <pc:docMk/>
            <pc:sldMasterMk cId="0" sldId="2147483683"/>
            <ac:graphicFrameMk id="2" creationId="{D7771D56-7E00-679E-4EBA-6E653294D2F8}"/>
          </ac:graphicFrameMkLst>
        </pc:graphicFrameChg>
        <pc:sldLayoutChg chg="del">
          <pc:chgData name="Jiayi Deng" userId="1a00fe64-c1f9-48ee-8835-dcb79118203c" providerId="ADAL" clId="{C5AC4572-7526-4C2E-B9F3-B195E90BCC87}" dt="2023-12-06T10:23:03.131" v="1440" actId="47"/>
          <pc:sldLayoutMkLst>
            <pc:docMk/>
            <pc:sldMasterMk cId="0" sldId="2147483683"/>
            <pc:sldLayoutMk cId="0" sldId="2147483654"/>
          </pc:sldLayoutMkLst>
        </pc:sldLayoutChg>
      </pc:sldMasterChg>
      <pc:sldMasterChg chg="addSp modSp mod">
        <pc:chgData name="Jiayi Deng" userId="1a00fe64-c1f9-48ee-8835-dcb79118203c" providerId="ADAL" clId="{C5AC4572-7526-4C2E-B9F3-B195E90BCC87}" dt="2023-12-06T09:23:49.342" v="36"/>
        <pc:sldMasterMkLst>
          <pc:docMk/>
          <pc:sldMasterMk cId="0" sldId="2147483684"/>
        </pc:sldMasterMkLst>
        <pc:graphicFrameChg chg="add mod ord modVis replST">
          <ac:chgData name="Jiayi Deng" userId="1a00fe64-c1f9-48ee-8835-dcb79118203c" providerId="ADAL" clId="{C5AC4572-7526-4C2E-B9F3-B195E90BCC87}" dt="2023-12-06T09:23:49.342" v="36"/>
          <ac:graphicFrameMkLst>
            <pc:docMk/>
            <pc:sldMasterMk cId="0" sldId="2147483684"/>
            <ac:graphicFrameMk id="2" creationId="{DBFF3983-3760-16C0-6B81-3CD2D6CA1105}"/>
          </ac:graphicFrameMkLst>
        </pc:graphicFrameChg>
      </pc:sldMasterChg>
    </pc:docChg>
  </pc:docChgLst>
  <pc:docChgLst>
    <pc:chgData name="Jiayi Deng" userId="S::jiayideng@uchicago.edu::1a00fe64-c1f9-48ee-8835-dcb79118203c" providerId="AD" clId="Web-{522F214E-D6DA-4AAC-AA10-B83ABC252EDB}"/>
    <pc:docChg chg="modSld">
      <pc:chgData name="Jiayi Deng" userId="S::jiayideng@uchicago.edu::1a00fe64-c1f9-48ee-8835-dcb79118203c" providerId="AD" clId="Web-{522F214E-D6DA-4AAC-AA10-B83ABC252EDB}" dt="2023-12-08T09:34:06.632" v="55" actId="20577"/>
      <pc:docMkLst>
        <pc:docMk/>
      </pc:docMkLst>
      <pc:sldChg chg="addSp modSp">
        <pc:chgData name="Jiayi Deng" userId="S::jiayideng@uchicago.edu::1a00fe64-c1f9-48ee-8835-dcb79118203c" providerId="AD" clId="Web-{522F214E-D6DA-4AAC-AA10-B83ABC252EDB}" dt="2023-12-08T09:31:49.581" v="9" actId="20577"/>
        <pc:sldMkLst>
          <pc:docMk/>
          <pc:sldMk cId="0" sldId="263"/>
        </pc:sldMkLst>
        <pc:spChg chg="add mod">
          <ac:chgData name="Jiayi Deng" userId="S::jiayideng@uchicago.edu::1a00fe64-c1f9-48ee-8835-dcb79118203c" providerId="AD" clId="Web-{522F214E-D6DA-4AAC-AA10-B83ABC252EDB}" dt="2023-12-08T09:31:49.581" v="9" actId="20577"/>
          <ac:spMkLst>
            <pc:docMk/>
            <pc:sldMk cId="0" sldId="263"/>
            <ac:spMk id="4" creationId="{48772592-E273-0E31-5029-819C6D577486}"/>
          </ac:spMkLst>
        </pc:spChg>
      </pc:sldChg>
      <pc:sldChg chg="addSp modSp">
        <pc:chgData name="Jiayi Deng" userId="S::jiayideng@uchicago.edu::1a00fe64-c1f9-48ee-8835-dcb79118203c" providerId="AD" clId="Web-{522F214E-D6DA-4AAC-AA10-B83ABC252EDB}" dt="2023-12-08T09:31:42.206" v="6" actId="20577"/>
        <pc:sldMkLst>
          <pc:docMk/>
          <pc:sldMk cId="1617173535" sldId="272"/>
        </pc:sldMkLst>
        <pc:spChg chg="add mod">
          <ac:chgData name="Jiayi Deng" userId="S::jiayideng@uchicago.edu::1a00fe64-c1f9-48ee-8835-dcb79118203c" providerId="AD" clId="Web-{522F214E-D6DA-4AAC-AA10-B83ABC252EDB}" dt="2023-12-08T09:31:42.206" v="6" actId="20577"/>
          <ac:spMkLst>
            <pc:docMk/>
            <pc:sldMk cId="1617173535" sldId="272"/>
            <ac:spMk id="4" creationId="{6B6116EA-1C0E-5B6F-11A8-0DD406E5384F}"/>
          </ac:spMkLst>
        </pc:spChg>
      </pc:sldChg>
      <pc:sldChg chg="addSp modSp">
        <pc:chgData name="Jiayi Deng" userId="S::jiayideng@uchicago.edu::1a00fe64-c1f9-48ee-8835-dcb79118203c" providerId="AD" clId="Web-{522F214E-D6DA-4AAC-AA10-B83ABC252EDB}" dt="2023-12-08T09:32:38.223" v="29" actId="20577"/>
        <pc:sldMkLst>
          <pc:docMk/>
          <pc:sldMk cId="4076952846" sldId="285"/>
        </pc:sldMkLst>
        <pc:spChg chg="add mod">
          <ac:chgData name="Jiayi Deng" userId="S::jiayideng@uchicago.edu::1a00fe64-c1f9-48ee-8835-dcb79118203c" providerId="AD" clId="Web-{522F214E-D6DA-4AAC-AA10-B83ABC252EDB}" dt="2023-12-08T09:32:38.223" v="29" actId="20577"/>
          <ac:spMkLst>
            <pc:docMk/>
            <pc:sldMk cId="4076952846" sldId="285"/>
            <ac:spMk id="3" creationId="{3B18093D-1D44-B51A-A3E5-4DF76176146E}"/>
          </ac:spMkLst>
        </pc:spChg>
      </pc:sldChg>
      <pc:sldChg chg="addSp modSp">
        <pc:chgData name="Jiayi Deng" userId="S::jiayideng@uchicago.edu::1a00fe64-c1f9-48ee-8835-dcb79118203c" providerId="AD" clId="Web-{522F214E-D6DA-4AAC-AA10-B83ABC252EDB}" dt="2023-12-08T09:33:53.616" v="49" actId="20577"/>
        <pc:sldMkLst>
          <pc:docMk/>
          <pc:sldMk cId="2447905169" sldId="288"/>
        </pc:sldMkLst>
        <pc:spChg chg="add mod">
          <ac:chgData name="Jiayi Deng" userId="S::jiayideng@uchicago.edu::1a00fe64-c1f9-48ee-8835-dcb79118203c" providerId="AD" clId="Web-{522F214E-D6DA-4AAC-AA10-B83ABC252EDB}" dt="2023-12-08T09:33:53.616" v="49" actId="20577"/>
          <ac:spMkLst>
            <pc:docMk/>
            <pc:sldMk cId="2447905169" sldId="288"/>
            <ac:spMk id="3" creationId="{3EFE2CFB-20A3-5954-2105-D55644E03F38}"/>
          </ac:spMkLst>
        </pc:spChg>
      </pc:sldChg>
      <pc:sldChg chg="addSp modSp">
        <pc:chgData name="Jiayi Deng" userId="S::jiayideng@uchicago.edu::1a00fe64-c1f9-48ee-8835-dcb79118203c" providerId="AD" clId="Web-{522F214E-D6DA-4AAC-AA10-B83ABC252EDB}" dt="2023-12-08T09:34:06.632" v="55" actId="20577"/>
        <pc:sldMkLst>
          <pc:docMk/>
          <pc:sldMk cId="2667141659" sldId="295"/>
        </pc:sldMkLst>
        <pc:spChg chg="add mod">
          <ac:chgData name="Jiayi Deng" userId="S::jiayideng@uchicago.edu::1a00fe64-c1f9-48ee-8835-dcb79118203c" providerId="AD" clId="Web-{522F214E-D6DA-4AAC-AA10-B83ABC252EDB}" dt="2023-12-08T09:34:06.632" v="55" actId="20577"/>
          <ac:spMkLst>
            <pc:docMk/>
            <pc:sldMk cId="2667141659" sldId="295"/>
            <ac:spMk id="4" creationId="{9103C2E7-2424-ADED-1648-B455094A8819}"/>
          </ac:spMkLst>
        </pc:spChg>
      </pc:sldChg>
      <pc:sldChg chg="modSp">
        <pc:chgData name="Jiayi Deng" userId="S::jiayideng@uchicago.edu::1a00fe64-c1f9-48ee-8835-dcb79118203c" providerId="AD" clId="Web-{522F214E-D6DA-4AAC-AA10-B83ABC252EDB}" dt="2023-12-08T09:31:36.815" v="3" actId="1076"/>
        <pc:sldMkLst>
          <pc:docMk/>
          <pc:sldMk cId="3208453393" sldId="314"/>
        </pc:sldMkLst>
        <pc:spChg chg="mod">
          <ac:chgData name="Jiayi Deng" userId="S::jiayideng@uchicago.edu::1a00fe64-c1f9-48ee-8835-dcb79118203c" providerId="AD" clId="Web-{522F214E-D6DA-4AAC-AA10-B83ABC252EDB}" dt="2023-12-08T09:31:36.815" v="3" actId="1076"/>
          <ac:spMkLst>
            <pc:docMk/>
            <pc:sldMk cId="3208453393" sldId="314"/>
            <ac:spMk id="8" creationId="{A642BE6C-34A5-0794-175A-E2BC8391259E}"/>
          </ac:spMkLst>
        </pc:spChg>
      </pc:sldChg>
      <pc:sldChg chg="addSp modSp">
        <pc:chgData name="Jiayi Deng" userId="S::jiayideng@uchicago.edu::1a00fe64-c1f9-48ee-8835-dcb79118203c" providerId="AD" clId="Web-{522F214E-D6DA-4AAC-AA10-B83ABC252EDB}" dt="2023-12-08T09:32:01.910" v="15" actId="20577"/>
        <pc:sldMkLst>
          <pc:docMk/>
          <pc:sldMk cId="2309476945" sldId="316"/>
        </pc:sldMkLst>
        <pc:spChg chg="add mod">
          <ac:chgData name="Jiayi Deng" userId="S::jiayideng@uchicago.edu::1a00fe64-c1f9-48ee-8835-dcb79118203c" providerId="AD" clId="Web-{522F214E-D6DA-4AAC-AA10-B83ABC252EDB}" dt="2023-12-08T09:32:01.910" v="15" actId="20577"/>
          <ac:spMkLst>
            <pc:docMk/>
            <pc:sldMk cId="2309476945" sldId="316"/>
            <ac:spMk id="3" creationId="{40AE0277-C72B-A5BC-1424-14B860DF58F9}"/>
          </ac:spMkLst>
        </pc:spChg>
      </pc:sldChg>
      <pc:sldChg chg="addSp modSp">
        <pc:chgData name="Jiayi Deng" userId="S::jiayideng@uchicago.edu::1a00fe64-c1f9-48ee-8835-dcb79118203c" providerId="AD" clId="Web-{522F214E-D6DA-4AAC-AA10-B83ABC252EDB}" dt="2023-12-08T09:32:06.332" v="17" actId="20577"/>
        <pc:sldMkLst>
          <pc:docMk/>
          <pc:sldMk cId="2636963148" sldId="317"/>
        </pc:sldMkLst>
        <pc:spChg chg="add mod">
          <ac:chgData name="Jiayi Deng" userId="S::jiayideng@uchicago.edu::1a00fe64-c1f9-48ee-8835-dcb79118203c" providerId="AD" clId="Web-{522F214E-D6DA-4AAC-AA10-B83ABC252EDB}" dt="2023-12-08T09:32:06.332" v="17" actId="20577"/>
          <ac:spMkLst>
            <pc:docMk/>
            <pc:sldMk cId="2636963148" sldId="317"/>
            <ac:spMk id="4" creationId="{0E4CD161-7E63-A73D-8B4C-035BE76CCED8}"/>
          </ac:spMkLst>
        </pc:spChg>
      </pc:sldChg>
      <pc:sldChg chg="addSp modSp">
        <pc:chgData name="Jiayi Deng" userId="S::jiayideng@uchicago.edu::1a00fe64-c1f9-48ee-8835-dcb79118203c" providerId="AD" clId="Web-{522F214E-D6DA-4AAC-AA10-B83ABC252EDB}" dt="2023-12-08T09:32:15.894" v="21" actId="20577"/>
        <pc:sldMkLst>
          <pc:docMk/>
          <pc:sldMk cId="2257815219" sldId="319"/>
        </pc:sldMkLst>
        <pc:spChg chg="add mod">
          <ac:chgData name="Jiayi Deng" userId="S::jiayideng@uchicago.edu::1a00fe64-c1f9-48ee-8835-dcb79118203c" providerId="AD" clId="Web-{522F214E-D6DA-4AAC-AA10-B83ABC252EDB}" dt="2023-12-08T09:32:15.894" v="21" actId="20577"/>
          <ac:spMkLst>
            <pc:docMk/>
            <pc:sldMk cId="2257815219" sldId="319"/>
            <ac:spMk id="4" creationId="{F9DEC656-88D3-21B6-00FB-24E89C76E57B}"/>
          </ac:spMkLst>
        </pc:spChg>
      </pc:sldChg>
      <pc:sldChg chg="addSp modSp">
        <pc:chgData name="Jiayi Deng" userId="S::jiayideng@uchicago.edu::1a00fe64-c1f9-48ee-8835-dcb79118203c" providerId="AD" clId="Web-{522F214E-D6DA-4AAC-AA10-B83ABC252EDB}" dt="2023-12-08T09:32:10.051" v="19" actId="20577"/>
        <pc:sldMkLst>
          <pc:docMk/>
          <pc:sldMk cId="4016263961" sldId="323"/>
        </pc:sldMkLst>
        <pc:spChg chg="add mod">
          <ac:chgData name="Jiayi Deng" userId="S::jiayideng@uchicago.edu::1a00fe64-c1f9-48ee-8835-dcb79118203c" providerId="AD" clId="Web-{522F214E-D6DA-4AAC-AA10-B83ABC252EDB}" dt="2023-12-08T09:32:10.051" v="19" actId="20577"/>
          <ac:spMkLst>
            <pc:docMk/>
            <pc:sldMk cId="4016263961" sldId="323"/>
            <ac:spMk id="12" creationId="{3801B848-29B5-3430-54E1-27244BDB64E6}"/>
          </ac:spMkLst>
        </pc:spChg>
      </pc:sldChg>
      <pc:sldChg chg="addSp modSp">
        <pc:chgData name="Jiayi Deng" userId="S::jiayideng@uchicago.edu::1a00fe64-c1f9-48ee-8835-dcb79118203c" providerId="AD" clId="Web-{522F214E-D6DA-4AAC-AA10-B83ABC252EDB}" dt="2023-12-08T09:32:21.332" v="23" actId="20577"/>
        <pc:sldMkLst>
          <pc:docMk/>
          <pc:sldMk cId="3942716630" sldId="324"/>
        </pc:sldMkLst>
        <pc:spChg chg="add mod">
          <ac:chgData name="Jiayi Deng" userId="S::jiayideng@uchicago.edu::1a00fe64-c1f9-48ee-8835-dcb79118203c" providerId="AD" clId="Web-{522F214E-D6DA-4AAC-AA10-B83ABC252EDB}" dt="2023-12-08T09:32:21.332" v="23" actId="20577"/>
          <ac:spMkLst>
            <pc:docMk/>
            <pc:sldMk cId="3942716630" sldId="324"/>
            <ac:spMk id="3" creationId="{274D5BB3-2037-A513-E424-0FBB145A37AF}"/>
          </ac:spMkLst>
        </pc:spChg>
      </pc:sldChg>
      <pc:sldChg chg="addSp modSp">
        <pc:chgData name="Jiayi Deng" userId="S::jiayideng@uchicago.edu::1a00fe64-c1f9-48ee-8835-dcb79118203c" providerId="AD" clId="Web-{522F214E-D6DA-4AAC-AA10-B83ABC252EDB}" dt="2023-12-08T09:32:32.989" v="27" actId="20577"/>
        <pc:sldMkLst>
          <pc:docMk/>
          <pc:sldMk cId="2106829005" sldId="336"/>
        </pc:sldMkLst>
        <pc:spChg chg="add mod">
          <ac:chgData name="Jiayi Deng" userId="S::jiayideng@uchicago.edu::1a00fe64-c1f9-48ee-8835-dcb79118203c" providerId="AD" clId="Web-{522F214E-D6DA-4AAC-AA10-B83ABC252EDB}" dt="2023-12-08T09:32:32.989" v="27" actId="20577"/>
          <ac:spMkLst>
            <pc:docMk/>
            <pc:sldMk cId="2106829005" sldId="336"/>
            <ac:spMk id="3" creationId="{ADF51859-CD03-B422-E6BF-4A6AA151F958}"/>
          </ac:spMkLst>
        </pc:spChg>
      </pc:sldChg>
      <pc:sldChg chg="addSp modSp">
        <pc:chgData name="Jiayi Deng" userId="S::jiayideng@uchicago.edu::1a00fe64-c1f9-48ee-8835-dcb79118203c" providerId="AD" clId="Web-{522F214E-D6DA-4AAC-AA10-B83ABC252EDB}" dt="2023-12-08T09:32:42.598" v="31" actId="20577"/>
        <pc:sldMkLst>
          <pc:docMk/>
          <pc:sldMk cId="793417744" sldId="338"/>
        </pc:sldMkLst>
        <pc:spChg chg="add mod">
          <ac:chgData name="Jiayi Deng" userId="S::jiayideng@uchicago.edu::1a00fe64-c1f9-48ee-8835-dcb79118203c" providerId="AD" clId="Web-{522F214E-D6DA-4AAC-AA10-B83ABC252EDB}" dt="2023-12-08T09:32:42.598" v="31" actId="20577"/>
          <ac:spMkLst>
            <pc:docMk/>
            <pc:sldMk cId="793417744" sldId="338"/>
            <ac:spMk id="3" creationId="{7CEEA88B-9A27-45F8-DC2D-172CE1EB791F}"/>
          </ac:spMkLst>
        </pc:spChg>
      </pc:sldChg>
      <pc:sldChg chg="addSp modSp">
        <pc:chgData name="Jiayi Deng" userId="S::jiayideng@uchicago.edu::1a00fe64-c1f9-48ee-8835-dcb79118203c" providerId="AD" clId="Web-{522F214E-D6DA-4AAC-AA10-B83ABC252EDB}" dt="2023-12-08T09:32:49.552" v="35" actId="20577"/>
        <pc:sldMkLst>
          <pc:docMk/>
          <pc:sldMk cId="975507179" sldId="339"/>
        </pc:sldMkLst>
        <pc:spChg chg="add mod">
          <ac:chgData name="Jiayi Deng" userId="S::jiayideng@uchicago.edu::1a00fe64-c1f9-48ee-8835-dcb79118203c" providerId="AD" clId="Web-{522F214E-D6DA-4AAC-AA10-B83ABC252EDB}" dt="2023-12-08T09:32:49.552" v="35" actId="20577"/>
          <ac:spMkLst>
            <pc:docMk/>
            <pc:sldMk cId="975507179" sldId="339"/>
            <ac:spMk id="3" creationId="{3D85E181-EE86-2903-0BE1-F02BD5858A55}"/>
          </ac:spMkLst>
        </pc:spChg>
      </pc:sldChg>
      <pc:sldChg chg="addSp modSp">
        <pc:chgData name="Jiayi Deng" userId="S::jiayideng@uchicago.edu::1a00fe64-c1f9-48ee-8835-dcb79118203c" providerId="AD" clId="Web-{522F214E-D6DA-4AAC-AA10-B83ABC252EDB}" dt="2023-12-08T09:32:55.021" v="37" actId="20577"/>
        <pc:sldMkLst>
          <pc:docMk/>
          <pc:sldMk cId="97044753" sldId="340"/>
        </pc:sldMkLst>
        <pc:spChg chg="add mod">
          <ac:chgData name="Jiayi Deng" userId="S::jiayideng@uchicago.edu::1a00fe64-c1f9-48ee-8835-dcb79118203c" providerId="AD" clId="Web-{522F214E-D6DA-4AAC-AA10-B83ABC252EDB}" dt="2023-12-08T09:32:55.021" v="37" actId="20577"/>
          <ac:spMkLst>
            <pc:docMk/>
            <pc:sldMk cId="97044753" sldId="340"/>
            <ac:spMk id="3" creationId="{B68FC3CE-2DB7-2A5F-0795-2ED3FEC1D264}"/>
          </ac:spMkLst>
        </pc:spChg>
      </pc:sldChg>
      <pc:sldChg chg="addSp modSp">
        <pc:chgData name="Jiayi Deng" userId="S::jiayideng@uchicago.edu::1a00fe64-c1f9-48ee-8835-dcb79118203c" providerId="AD" clId="Web-{522F214E-D6DA-4AAC-AA10-B83ABC252EDB}" dt="2023-12-08T09:33:30.178" v="47" actId="20577"/>
        <pc:sldMkLst>
          <pc:docMk/>
          <pc:sldMk cId="4044400470" sldId="341"/>
        </pc:sldMkLst>
        <pc:spChg chg="add mod">
          <ac:chgData name="Jiayi Deng" userId="S::jiayideng@uchicago.edu::1a00fe64-c1f9-48ee-8835-dcb79118203c" providerId="AD" clId="Web-{522F214E-D6DA-4AAC-AA10-B83ABC252EDB}" dt="2023-12-08T09:32:59.427" v="39" actId="20577"/>
          <ac:spMkLst>
            <pc:docMk/>
            <pc:sldMk cId="4044400470" sldId="341"/>
            <ac:spMk id="3" creationId="{64E52DE1-08E4-1B94-3D2D-9828DB59743D}"/>
          </ac:spMkLst>
        </pc:spChg>
        <pc:spChg chg="mod">
          <ac:chgData name="Jiayi Deng" userId="S::jiayideng@uchicago.edu::1a00fe64-c1f9-48ee-8835-dcb79118203c" providerId="AD" clId="Web-{522F214E-D6DA-4AAC-AA10-B83ABC252EDB}" dt="2023-12-08T09:33:30.178" v="47" actId="20577"/>
          <ac:spMkLst>
            <pc:docMk/>
            <pc:sldMk cId="4044400470" sldId="341"/>
            <ac:spMk id="9" creationId="{9228C873-4358-71D9-7804-B597CC8C2B8C}"/>
          </ac:spMkLst>
        </pc:spChg>
      </pc:sldChg>
      <pc:sldChg chg="addSp modSp">
        <pc:chgData name="Jiayi Deng" userId="S::jiayideng@uchicago.edu::1a00fe64-c1f9-48ee-8835-dcb79118203c" providerId="AD" clId="Web-{522F214E-D6DA-4AAC-AA10-B83ABC252EDB}" dt="2023-12-08T09:34:01.414" v="53" actId="20577"/>
        <pc:sldMkLst>
          <pc:docMk/>
          <pc:sldMk cId="2336100853" sldId="345"/>
        </pc:sldMkLst>
        <pc:spChg chg="add mod">
          <ac:chgData name="Jiayi Deng" userId="S::jiayideng@uchicago.edu::1a00fe64-c1f9-48ee-8835-dcb79118203c" providerId="AD" clId="Web-{522F214E-D6DA-4AAC-AA10-B83ABC252EDB}" dt="2023-12-08T09:34:01.414" v="53" actId="20577"/>
          <ac:spMkLst>
            <pc:docMk/>
            <pc:sldMk cId="2336100853" sldId="345"/>
            <ac:spMk id="3" creationId="{5A87369A-C155-F11F-739D-FC0466A708E1}"/>
          </ac:spMkLst>
        </pc:spChg>
      </pc:sldChg>
      <pc:sldChg chg="addSp modSp">
        <pc:chgData name="Jiayi Deng" userId="S::jiayideng@uchicago.edu::1a00fe64-c1f9-48ee-8835-dcb79118203c" providerId="AD" clId="Web-{522F214E-D6DA-4AAC-AA10-B83ABC252EDB}" dt="2023-12-08T09:32:26.207" v="25" actId="20577"/>
        <pc:sldMkLst>
          <pc:docMk/>
          <pc:sldMk cId="1854151037" sldId="347"/>
        </pc:sldMkLst>
        <pc:spChg chg="add mod">
          <ac:chgData name="Jiayi Deng" userId="S::jiayideng@uchicago.edu::1a00fe64-c1f9-48ee-8835-dcb79118203c" providerId="AD" clId="Web-{522F214E-D6DA-4AAC-AA10-B83ABC252EDB}" dt="2023-12-08T09:32:26.207" v="25" actId="20577"/>
          <ac:spMkLst>
            <pc:docMk/>
            <pc:sldMk cId="1854151037" sldId="347"/>
            <ac:spMk id="4" creationId="{7297B5F5-4665-7366-A046-D45FF8A7C154}"/>
          </ac:spMkLst>
        </pc:spChg>
      </pc:sldChg>
      <pc:sldChg chg="addSp modSp">
        <pc:chgData name="Jiayi Deng" userId="S::jiayideng@uchicago.edu::1a00fe64-c1f9-48ee-8835-dcb79118203c" providerId="AD" clId="Web-{522F214E-D6DA-4AAC-AA10-B83ABC252EDB}" dt="2023-12-08T09:33:57.492" v="51" actId="20577"/>
        <pc:sldMkLst>
          <pc:docMk/>
          <pc:sldMk cId="3919526538" sldId="348"/>
        </pc:sldMkLst>
        <pc:spChg chg="add mod">
          <ac:chgData name="Jiayi Deng" userId="S::jiayideng@uchicago.edu::1a00fe64-c1f9-48ee-8835-dcb79118203c" providerId="AD" clId="Web-{522F214E-D6DA-4AAC-AA10-B83ABC252EDB}" dt="2023-12-08T09:33:57.492" v="51" actId="20577"/>
          <ac:spMkLst>
            <pc:docMk/>
            <pc:sldMk cId="3919526538" sldId="348"/>
            <ac:spMk id="3" creationId="{EEB81335-055A-B94E-A7B2-62D850363D9E}"/>
          </ac:spMkLst>
        </pc:spChg>
      </pc:sldChg>
    </pc:docChg>
  </pc:docChgLst>
  <pc:docChgLst>
    <pc:chgData name="Yiwen Song" userId="S::ysong64@uchicago.edu::facb385f-c87f-4c4b-9d46-8fc59bab364f" providerId="AD" clId="Web-{BA8B91DB-1A50-427F-A72E-052F679F84BA}"/>
    <pc:docChg chg="addSld modSld">
      <pc:chgData name="Yiwen Song" userId="S::ysong64@uchicago.edu::facb385f-c87f-4c4b-9d46-8fc59bab364f" providerId="AD" clId="Web-{BA8B91DB-1A50-427F-A72E-052F679F84BA}" dt="2023-12-06T19:38:54.454" v="12"/>
      <pc:docMkLst>
        <pc:docMk/>
      </pc:docMkLst>
      <pc:sldChg chg="delSp new">
        <pc:chgData name="Yiwen Song" userId="S::ysong64@uchicago.edu::facb385f-c87f-4c4b-9d46-8fc59bab364f" providerId="AD" clId="Web-{BA8B91DB-1A50-427F-A72E-052F679F84BA}" dt="2023-12-06T19:37:32.608" v="3"/>
        <pc:sldMkLst>
          <pc:docMk/>
          <pc:sldMk cId="2044416193" sldId="326"/>
        </pc:sldMkLst>
        <pc:spChg chg="del">
          <ac:chgData name="Yiwen Song" userId="S::ysong64@uchicago.edu::facb385f-c87f-4c4b-9d46-8fc59bab364f" providerId="AD" clId="Web-{BA8B91DB-1A50-427F-A72E-052F679F84BA}" dt="2023-12-06T19:37:32.608" v="3"/>
          <ac:spMkLst>
            <pc:docMk/>
            <pc:sldMk cId="2044416193" sldId="326"/>
            <ac:spMk id="2" creationId="{EE2BA3E5-CF73-1B90-FB6D-1E19E7143325}"/>
          </ac:spMkLst>
        </pc:spChg>
        <pc:spChg chg="del">
          <ac:chgData name="Yiwen Song" userId="S::ysong64@uchicago.edu::facb385f-c87f-4c4b-9d46-8fc59bab364f" providerId="AD" clId="Web-{BA8B91DB-1A50-427F-A72E-052F679F84BA}" dt="2023-12-06T19:37:32.608" v="2"/>
          <ac:spMkLst>
            <pc:docMk/>
            <pc:sldMk cId="2044416193" sldId="326"/>
            <ac:spMk id="3" creationId="{80438A06-C559-1B94-2EB6-38B212B78A45}"/>
          </ac:spMkLst>
        </pc:spChg>
        <pc:spChg chg="del">
          <ac:chgData name="Yiwen Song" userId="S::ysong64@uchicago.edu::facb385f-c87f-4c4b-9d46-8fc59bab364f" providerId="AD" clId="Web-{BA8B91DB-1A50-427F-A72E-052F679F84BA}" dt="2023-12-06T19:37:32.608" v="1"/>
          <ac:spMkLst>
            <pc:docMk/>
            <pc:sldMk cId="2044416193" sldId="326"/>
            <ac:spMk id="4" creationId="{4937FFBB-C2DE-1437-3224-08511FC16385}"/>
          </ac:spMkLst>
        </pc:spChg>
      </pc:sldChg>
      <pc:sldChg chg="delSp">
        <pc:chgData name="Yiwen Song" userId="S::ysong64@uchicago.edu::facb385f-c87f-4c4b-9d46-8fc59bab364f" providerId="AD" clId="Web-{BA8B91DB-1A50-427F-A72E-052F679F84BA}" dt="2023-12-06T19:38:47.188" v="9"/>
        <pc:sldMkLst>
          <pc:docMk/>
          <pc:sldMk cId="2903956612" sldId="327"/>
        </pc:sldMkLst>
        <pc:spChg chg="del">
          <ac:chgData name="Yiwen Song" userId="S::ysong64@uchicago.edu::facb385f-c87f-4c4b-9d46-8fc59bab364f" providerId="AD" clId="Web-{BA8B91DB-1A50-427F-A72E-052F679F84BA}" dt="2023-12-06T19:38:47.188" v="9"/>
          <ac:spMkLst>
            <pc:docMk/>
            <pc:sldMk cId="2903956612" sldId="327"/>
            <ac:spMk id="4" creationId="{2D1A06BC-64AD-269A-7FAD-B3A167E0EDEA}"/>
          </ac:spMkLst>
        </pc:spChg>
      </pc:sldChg>
      <pc:sldChg chg="new">
        <pc:chgData name="Yiwen Song" userId="S::ysong64@uchicago.edu::facb385f-c87f-4c4b-9d46-8fc59bab364f" providerId="AD" clId="Web-{BA8B91DB-1A50-427F-A72E-052F679F84BA}" dt="2023-12-06T19:38:17.172" v="4"/>
        <pc:sldMkLst>
          <pc:docMk/>
          <pc:sldMk cId="3040852889" sldId="327"/>
        </pc:sldMkLst>
      </pc:sldChg>
      <pc:sldChg chg="delSp new">
        <pc:chgData name="Yiwen Song" userId="S::ysong64@uchicago.edu::facb385f-c87f-4c4b-9d46-8fc59bab364f" providerId="AD" clId="Web-{BA8B91DB-1A50-427F-A72E-052F679F84BA}" dt="2023-12-06T19:38:25.203" v="8"/>
        <pc:sldMkLst>
          <pc:docMk/>
          <pc:sldMk cId="948410504" sldId="328"/>
        </pc:sldMkLst>
        <pc:spChg chg="del">
          <ac:chgData name="Yiwen Song" userId="S::ysong64@uchicago.edu::facb385f-c87f-4c4b-9d46-8fc59bab364f" providerId="AD" clId="Web-{BA8B91DB-1A50-427F-A72E-052F679F84BA}" dt="2023-12-06T19:38:25.203" v="8"/>
          <ac:spMkLst>
            <pc:docMk/>
            <pc:sldMk cId="948410504" sldId="328"/>
            <ac:spMk id="2" creationId="{635089DC-D5E2-91CB-47E0-583DF967F518}"/>
          </ac:spMkLst>
        </pc:spChg>
        <pc:spChg chg="del">
          <ac:chgData name="Yiwen Song" userId="S::ysong64@uchicago.edu::facb385f-c87f-4c4b-9d46-8fc59bab364f" providerId="AD" clId="Web-{BA8B91DB-1A50-427F-A72E-052F679F84BA}" dt="2023-12-06T19:38:25.203" v="7"/>
          <ac:spMkLst>
            <pc:docMk/>
            <pc:sldMk cId="948410504" sldId="328"/>
            <ac:spMk id="3" creationId="{865E148D-AD1F-BA39-ADD5-AEDFB0DBD51B}"/>
          </ac:spMkLst>
        </pc:spChg>
        <pc:spChg chg="del">
          <ac:chgData name="Yiwen Song" userId="S::ysong64@uchicago.edu::facb385f-c87f-4c4b-9d46-8fc59bab364f" providerId="AD" clId="Web-{BA8B91DB-1A50-427F-A72E-052F679F84BA}" dt="2023-12-06T19:38:25.203" v="6"/>
          <ac:spMkLst>
            <pc:docMk/>
            <pc:sldMk cId="948410504" sldId="328"/>
            <ac:spMk id="4" creationId="{AF32CE03-A18F-C96B-A465-826DD7D2F441}"/>
          </ac:spMkLst>
        </pc:spChg>
      </pc:sldChg>
      <pc:sldChg chg="delSp">
        <pc:chgData name="Yiwen Song" userId="S::ysong64@uchicago.edu::facb385f-c87f-4c4b-9d46-8fc59bab364f" providerId="AD" clId="Web-{BA8B91DB-1A50-427F-A72E-052F679F84BA}" dt="2023-12-06T19:38:54.454" v="12"/>
        <pc:sldMkLst>
          <pc:docMk/>
          <pc:sldMk cId="2094757303" sldId="328"/>
        </pc:sldMkLst>
        <pc:spChg chg="del">
          <ac:chgData name="Yiwen Song" userId="S::ysong64@uchicago.edu::facb385f-c87f-4c4b-9d46-8fc59bab364f" providerId="AD" clId="Web-{BA8B91DB-1A50-427F-A72E-052F679F84BA}" dt="2023-12-06T19:38:54.454" v="12"/>
          <ac:spMkLst>
            <pc:docMk/>
            <pc:sldMk cId="2094757303" sldId="328"/>
            <ac:spMk id="2" creationId="{B19CA050-EBD7-ED59-722F-6BB39862356C}"/>
          </ac:spMkLst>
        </pc:spChg>
        <pc:spChg chg="del">
          <ac:chgData name="Yiwen Song" userId="S::ysong64@uchicago.edu::facb385f-c87f-4c4b-9d46-8fc59bab364f" providerId="AD" clId="Web-{BA8B91DB-1A50-427F-A72E-052F679F84BA}" dt="2023-12-06T19:38:54.454" v="11"/>
          <ac:spMkLst>
            <pc:docMk/>
            <pc:sldMk cId="2094757303" sldId="328"/>
            <ac:spMk id="3" creationId="{BAD72171-7BC7-BD2B-9914-B0F2D62D8B71}"/>
          </ac:spMkLst>
        </pc:spChg>
        <pc:spChg chg="del">
          <ac:chgData name="Yiwen Song" userId="S::ysong64@uchicago.edu::facb385f-c87f-4c4b-9d46-8fc59bab364f" providerId="AD" clId="Web-{BA8B91DB-1A50-427F-A72E-052F679F84BA}" dt="2023-12-06T19:38:54.454" v="10"/>
          <ac:spMkLst>
            <pc:docMk/>
            <pc:sldMk cId="2094757303" sldId="328"/>
            <ac:spMk id="4" creationId="{474F4459-6EF3-365E-0D4A-CAB66879535E}"/>
          </ac:spMkLst>
        </pc:spChg>
      </pc:sldChg>
    </pc:docChg>
  </pc:docChgLst>
  <pc:docChgLst>
    <pc:chgData name="Jiayi Deng" userId="S::jiayideng@uchicago.edu::1a00fe64-c1f9-48ee-8835-dcb79118203c" providerId="AD" clId="Web-{AE253DD1-9F33-4877-AF32-81AAF198A661}"/>
    <pc:docChg chg="sldOrd">
      <pc:chgData name="Jiayi Deng" userId="S::jiayideng@uchicago.edu::1a00fe64-c1f9-48ee-8835-dcb79118203c" providerId="AD" clId="Web-{AE253DD1-9F33-4877-AF32-81AAF198A661}" dt="2023-12-06T04:35:17.789" v="0"/>
      <pc:docMkLst>
        <pc:docMk/>
      </pc:docMkLst>
      <pc:sldChg chg="ord">
        <pc:chgData name="Jiayi Deng" userId="S::jiayideng@uchicago.edu::1a00fe64-c1f9-48ee-8835-dcb79118203c" providerId="AD" clId="Web-{AE253DD1-9F33-4877-AF32-81AAF198A661}" dt="2023-12-06T04:35:17.789" v="0"/>
        <pc:sldMkLst>
          <pc:docMk/>
          <pc:sldMk cId="0" sldId="266"/>
        </pc:sldMkLst>
      </pc:sldChg>
    </pc:docChg>
  </pc:docChgLst>
  <pc:docChgLst>
    <pc:chgData name="Jiayi Deng" userId="S::jiayideng@uchicago.edu::1a00fe64-c1f9-48ee-8835-dcb79118203c" providerId="AD" clId="Web-{A118F105-849A-486C-BD58-FBD20FF97BAF}"/>
    <pc:docChg chg="delSld modSection">
      <pc:chgData name="Jiayi Deng" userId="S::jiayideng@uchicago.edu::1a00fe64-c1f9-48ee-8835-dcb79118203c" providerId="AD" clId="Web-{A118F105-849A-486C-BD58-FBD20FF97BAF}" dt="2023-12-08T23:26:13.961" v="0"/>
      <pc:docMkLst>
        <pc:docMk/>
      </pc:docMkLst>
      <pc:sldChg chg="del">
        <pc:chgData name="Jiayi Deng" userId="S::jiayideng@uchicago.edu::1a00fe64-c1f9-48ee-8835-dcb79118203c" providerId="AD" clId="Web-{A118F105-849A-486C-BD58-FBD20FF97BAF}" dt="2023-12-08T23:26:13.961" v="0"/>
        <pc:sldMkLst>
          <pc:docMk/>
          <pc:sldMk cId="0" sldId="259"/>
        </pc:sldMkLst>
      </pc:sldChg>
    </pc:docChg>
  </pc:docChgLst>
  <pc:docChgLst>
    <pc:chgData name="Jessy Hu" userId="f2d34ac4-8535-4a4b-87f4-a2602f82559e" providerId="ADAL" clId="{3768937E-7146-274F-B1CF-5E05B3741284}"/>
    <pc:docChg chg="undo custSel addSld delSld modSld sldOrd addSection modSection">
      <pc:chgData name="Jessy Hu" userId="f2d34ac4-8535-4a4b-87f4-a2602f82559e" providerId="ADAL" clId="{3768937E-7146-274F-B1CF-5E05B3741284}" dt="2023-12-08T23:30:33.707" v="5215" actId="404"/>
      <pc:docMkLst>
        <pc:docMk/>
      </pc:docMkLst>
      <pc:sldChg chg="del mod modShow">
        <pc:chgData name="Jessy Hu" userId="f2d34ac4-8535-4a4b-87f4-a2602f82559e" providerId="ADAL" clId="{3768937E-7146-274F-B1CF-5E05B3741284}" dt="2023-12-06T02:30:36.185" v="72" actId="2696"/>
        <pc:sldMkLst>
          <pc:docMk/>
          <pc:sldMk cId="0" sldId="257"/>
        </pc:sldMkLst>
      </pc:sldChg>
      <pc:sldChg chg="modSp mod ord addCm">
        <pc:chgData name="Jessy Hu" userId="f2d34ac4-8535-4a4b-87f4-a2602f82559e" providerId="ADAL" clId="{3768937E-7146-274F-B1CF-5E05B3741284}" dt="2023-12-07T05:05:59.491" v="4302" actId="20577"/>
        <pc:sldMkLst>
          <pc:docMk/>
          <pc:sldMk cId="0" sldId="258"/>
        </pc:sldMkLst>
        <pc:spChg chg="mod">
          <ac:chgData name="Jessy Hu" userId="f2d34ac4-8535-4a4b-87f4-a2602f82559e" providerId="ADAL" clId="{3768937E-7146-274F-B1CF-5E05B3741284}" dt="2023-12-07T05:05:59.491" v="4302" actId="20577"/>
          <ac:spMkLst>
            <pc:docMk/>
            <pc:sldMk cId="0" sldId="258"/>
            <ac:spMk id="44" creationId="{C2E5E1B5-1B70-A32E-AF5E-92D19B371F1E}"/>
          </ac:spMkLst>
        </pc:spChg>
        <pc:spChg chg="mod">
          <ac:chgData name="Jessy Hu" userId="f2d34ac4-8535-4a4b-87f4-a2602f82559e" providerId="ADAL" clId="{3768937E-7146-274F-B1CF-5E05B3741284}" dt="2023-12-06T22:59:44.359" v="3105" actId="20577"/>
          <ac:spMkLst>
            <pc:docMk/>
            <pc:sldMk cId="0" sldId="258"/>
            <ac:spMk id="46" creationId="{939DDC6C-4460-7ACC-9E3D-5B4432BA3819}"/>
          </ac:spMkLst>
        </pc:spChg>
        <pc:spChg chg="mod">
          <ac:chgData name="Jessy Hu" userId="f2d34ac4-8535-4a4b-87f4-a2602f82559e" providerId="ADAL" clId="{3768937E-7146-274F-B1CF-5E05B3741284}" dt="2023-12-07T05:05:56.755" v="4293" actId="20577"/>
          <ac:spMkLst>
            <pc:docMk/>
            <pc:sldMk cId="0" sldId="258"/>
            <ac:spMk id="48" creationId="{BA561210-85A8-9FD9-DF59-30BBB78DD9D9}"/>
          </ac:spMkLst>
        </pc:spChg>
      </pc:sldChg>
      <pc:sldChg chg="modSp mod modShow">
        <pc:chgData name="Jessy Hu" userId="f2d34ac4-8535-4a4b-87f4-a2602f82559e" providerId="ADAL" clId="{3768937E-7146-274F-B1CF-5E05B3741284}" dt="2023-12-08T01:08:05.830" v="5053" actId="729"/>
        <pc:sldMkLst>
          <pc:docMk/>
          <pc:sldMk cId="0" sldId="259"/>
        </pc:sldMkLst>
        <pc:spChg chg="mod">
          <ac:chgData name="Jessy Hu" userId="f2d34ac4-8535-4a4b-87f4-a2602f82559e" providerId="ADAL" clId="{3768937E-7146-274F-B1CF-5E05B3741284}" dt="2023-12-08T00:54:38.389" v="4906" actId="1076"/>
          <ac:spMkLst>
            <pc:docMk/>
            <pc:sldMk cId="0" sldId="259"/>
            <ac:spMk id="219" creationId="{00000000-0000-0000-0000-000000000000}"/>
          </ac:spMkLst>
        </pc:spChg>
        <pc:spChg chg="mod">
          <ac:chgData name="Jessy Hu" userId="f2d34ac4-8535-4a4b-87f4-a2602f82559e" providerId="ADAL" clId="{3768937E-7146-274F-B1CF-5E05B3741284}" dt="2023-12-08T00:54:35.788" v="4905" actId="1076"/>
          <ac:spMkLst>
            <pc:docMk/>
            <pc:sldMk cId="0" sldId="259"/>
            <ac:spMk id="221" creationId="{00000000-0000-0000-0000-000000000000}"/>
          </ac:spMkLst>
        </pc:spChg>
        <pc:picChg chg="mod">
          <ac:chgData name="Jessy Hu" userId="f2d34ac4-8535-4a4b-87f4-a2602f82559e" providerId="ADAL" clId="{3768937E-7146-274F-B1CF-5E05B3741284}" dt="2023-12-08T01:06:45.180" v="5041" actId="1076"/>
          <ac:picMkLst>
            <pc:docMk/>
            <pc:sldMk cId="0" sldId="259"/>
            <ac:picMk id="220" creationId="{00000000-0000-0000-0000-000000000000}"/>
          </ac:picMkLst>
        </pc:picChg>
      </pc:sldChg>
      <pc:sldChg chg="modSp mod ord">
        <pc:chgData name="Jessy Hu" userId="f2d34ac4-8535-4a4b-87f4-a2602f82559e" providerId="ADAL" clId="{3768937E-7146-274F-B1CF-5E05B3741284}" dt="2023-12-08T01:10:56.127" v="5059" actId="1076"/>
        <pc:sldMkLst>
          <pc:docMk/>
          <pc:sldMk cId="0" sldId="260"/>
        </pc:sldMkLst>
        <pc:spChg chg="mod">
          <ac:chgData name="Jessy Hu" userId="f2d34ac4-8535-4a4b-87f4-a2602f82559e" providerId="ADAL" clId="{3768937E-7146-274F-B1CF-5E05B3741284}" dt="2023-12-08T01:10:56.127" v="5059" actId="1076"/>
          <ac:spMkLst>
            <pc:docMk/>
            <pc:sldMk cId="0" sldId="260"/>
            <ac:spMk id="226" creationId="{00000000-0000-0000-0000-000000000000}"/>
          </ac:spMkLst>
        </pc:spChg>
        <pc:spChg chg="mod">
          <ac:chgData name="Jessy Hu" userId="f2d34ac4-8535-4a4b-87f4-a2602f82559e" providerId="ADAL" clId="{3768937E-7146-274F-B1CF-5E05B3741284}" dt="2023-12-08T01:10:03.727" v="5058" actId="1076"/>
          <ac:spMkLst>
            <pc:docMk/>
            <pc:sldMk cId="0" sldId="260"/>
            <ac:spMk id="228" creationId="{00000000-0000-0000-0000-000000000000}"/>
          </ac:spMkLst>
        </pc:spChg>
        <pc:picChg chg="mod">
          <ac:chgData name="Jessy Hu" userId="f2d34ac4-8535-4a4b-87f4-a2602f82559e" providerId="ADAL" clId="{3768937E-7146-274F-B1CF-5E05B3741284}" dt="2023-12-06T02:20:51.702" v="19" actId="1076"/>
          <ac:picMkLst>
            <pc:docMk/>
            <pc:sldMk cId="0" sldId="260"/>
            <ac:picMk id="227" creationId="{00000000-0000-0000-0000-000000000000}"/>
          </ac:picMkLst>
        </pc:picChg>
      </pc:sldChg>
      <pc:sldChg chg="addSp delSp modSp mod ord">
        <pc:chgData name="Jessy Hu" userId="f2d34ac4-8535-4a4b-87f4-a2602f82559e" providerId="ADAL" clId="{3768937E-7146-274F-B1CF-5E05B3741284}" dt="2023-12-06T02:55:40.274" v="253" actId="404"/>
        <pc:sldMkLst>
          <pc:docMk/>
          <pc:sldMk cId="0" sldId="261"/>
        </pc:sldMkLst>
        <pc:spChg chg="add del mod">
          <ac:chgData name="Jessy Hu" userId="f2d34ac4-8535-4a4b-87f4-a2602f82559e" providerId="ADAL" clId="{3768937E-7146-274F-B1CF-5E05B3741284}" dt="2023-12-06T02:55:24.323" v="245" actId="478"/>
          <ac:spMkLst>
            <pc:docMk/>
            <pc:sldMk cId="0" sldId="261"/>
            <ac:spMk id="3" creationId="{065855F5-1B7E-EBC8-5C21-085955836131}"/>
          </ac:spMkLst>
        </pc:spChg>
        <pc:spChg chg="mod">
          <ac:chgData name="Jessy Hu" userId="f2d34ac4-8535-4a4b-87f4-a2602f82559e" providerId="ADAL" clId="{3768937E-7146-274F-B1CF-5E05B3741284}" dt="2023-12-06T02:55:40.274" v="253" actId="404"/>
          <ac:spMkLst>
            <pc:docMk/>
            <pc:sldMk cId="0" sldId="261"/>
            <ac:spMk id="233" creationId="{00000000-0000-0000-0000-000000000000}"/>
          </ac:spMkLst>
        </pc:spChg>
        <pc:spChg chg="del mod">
          <ac:chgData name="Jessy Hu" userId="f2d34ac4-8535-4a4b-87f4-a2602f82559e" providerId="ADAL" clId="{3768937E-7146-274F-B1CF-5E05B3741284}" dt="2023-12-06T02:55:22.351" v="244" actId="478"/>
          <ac:spMkLst>
            <pc:docMk/>
            <pc:sldMk cId="0" sldId="261"/>
            <ac:spMk id="234" creationId="{00000000-0000-0000-0000-000000000000}"/>
          </ac:spMkLst>
        </pc:spChg>
      </pc:sldChg>
      <pc:sldChg chg="addSp delSp modSp mod ord addCm">
        <pc:chgData name="Jessy Hu" userId="f2d34ac4-8535-4a4b-87f4-a2602f82559e" providerId="ADAL" clId="{3768937E-7146-274F-B1CF-5E05B3741284}" dt="2023-12-06T03:04:32.824" v="463"/>
        <pc:sldMkLst>
          <pc:docMk/>
          <pc:sldMk cId="0" sldId="263"/>
        </pc:sldMkLst>
        <pc:spChg chg="add del mod">
          <ac:chgData name="Jessy Hu" userId="f2d34ac4-8535-4a4b-87f4-a2602f82559e" providerId="ADAL" clId="{3768937E-7146-274F-B1CF-5E05B3741284}" dt="2023-12-06T03:04:19.533" v="457" actId="478"/>
          <ac:spMkLst>
            <pc:docMk/>
            <pc:sldMk cId="0" sldId="263"/>
            <ac:spMk id="3" creationId="{B2A2B723-C0A4-36C3-3621-8A3A65A2017F}"/>
          </ac:spMkLst>
        </pc:spChg>
        <pc:spChg chg="add del mod">
          <ac:chgData name="Jessy Hu" userId="f2d34ac4-8535-4a4b-87f4-a2602f82559e" providerId="ADAL" clId="{3768937E-7146-274F-B1CF-5E05B3741284}" dt="2023-12-06T03:04:18.578" v="456" actId="478"/>
          <ac:spMkLst>
            <pc:docMk/>
            <pc:sldMk cId="0" sldId="263"/>
            <ac:spMk id="5" creationId="{3EF78EA9-7E7A-E16C-3FAD-F955B10F16FF}"/>
          </ac:spMkLst>
        </pc:spChg>
        <pc:spChg chg="add del mod">
          <ac:chgData name="Jessy Hu" userId="f2d34ac4-8535-4a4b-87f4-a2602f82559e" providerId="ADAL" clId="{3768937E-7146-274F-B1CF-5E05B3741284}" dt="2023-12-06T03:04:17.450" v="455" actId="478"/>
          <ac:spMkLst>
            <pc:docMk/>
            <pc:sldMk cId="0" sldId="263"/>
            <ac:spMk id="7" creationId="{C345D5D5-0D02-1383-4720-A50AD9693D2E}"/>
          </ac:spMkLst>
        </pc:spChg>
        <pc:spChg chg="add del mod">
          <ac:chgData name="Jessy Hu" userId="f2d34ac4-8535-4a4b-87f4-a2602f82559e" providerId="ADAL" clId="{3768937E-7146-274F-B1CF-5E05B3741284}" dt="2023-12-06T03:04:21.217" v="459" actId="478"/>
          <ac:spMkLst>
            <pc:docMk/>
            <pc:sldMk cId="0" sldId="263"/>
            <ac:spMk id="9" creationId="{C0F9301C-21C9-F5E1-F6F8-04C3707A0126}"/>
          </ac:spMkLst>
        </pc:spChg>
        <pc:spChg chg="del">
          <ac:chgData name="Jessy Hu" userId="f2d34ac4-8535-4a4b-87f4-a2602f82559e" providerId="ADAL" clId="{3768937E-7146-274F-B1CF-5E05B3741284}" dt="2023-12-06T03:04:15.197" v="453" actId="478"/>
          <ac:spMkLst>
            <pc:docMk/>
            <pc:sldMk cId="0" sldId="263"/>
            <ac:spMk id="256" creationId="{00000000-0000-0000-0000-000000000000}"/>
          </ac:spMkLst>
        </pc:spChg>
        <pc:spChg chg="del">
          <ac:chgData name="Jessy Hu" userId="f2d34ac4-8535-4a4b-87f4-a2602f82559e" providerId="ADAL" clId="{3768937E-7146-274F-B1CF-5E05B3741284}" dt="2023-12-06T03:04:12.651" v="452" actId="478"/>
          <ac:spMkLst>
            <pc:docMk/>
            <pc:sldMk cId="0" sldId="263"/>
            <ac:spMk id="257" creationId="{00000000-0000-0000-0000-000000000000}"/>
          </ac:spMkLst>
        </pc:spChg>
        <pc:spChg chg="del">
          <ac:chgData name="Jessy Hu" userId="f2d34ac4-8535-4a4b-87f4-a2602f82559e" providerId="ADAL" clId="{3768937E-7146-274F-B1CF-5E05B3741284}" dt="2023-12-06T03:04:20.394" v="458" actId="478"/>
          <ac:spMkLst>
            <pc:docMk/>
            <pc:sldMk cId="0" sldId="263"/>
            <ac:spMk id="258" creationId="{00000000-0000-0000-0000-000000000000}"/>
          </ac:spMkLst>
        </pc:spChg>
        <pc:spChg chg="del">
          <ac:chgData name="Jessy Hu" userId="f2d34ac4-8535-4a4b-87f4-a2602f82559e" providerId="ADAL" clId="{3768937E-7146-274F-B1CF-5E05B3741284}" dt="2023-12-06T03:04:16.575" v="454" actId="478"/>
          <ac:spMkLst>
            <pc:docMk/>
            <pc:sldMk cId="0" sldId="263"/>
            <ac:spMk id="259" creationId="{00000000-0000-0000-0000-000000000000}"/>
          </ac:spMkLst>
        </pc:spChg>
        <pc:spChg chg="del">
          <ac:chgData name="Jessy Hu" userId="f2d34ac4-8535-4a4b-87f4-a2602f82559e" providerId="ADAL" clId="{3768937E-7146-274F-B1CF-5E05B3741284}" dt="2023-12-06T03:04:12.651" v="452" actId="478"/>
          <ac:spMkLst>
            <pc:docMk/>
            <pc:sldMk cId="0" sldId="263"/>
            <ac:spMk id="260" creationId="{00000000-0000-0000-0000-000000000000}"/>
          </ac:spMkLst>
        </pc:spChg>
        <pc:spChg chg="del">
          <ac:chgData name="Jessy Hu" userId="f2d34ac4-8535-4a4b-87f4-a2602f82559e" providerId="ADAL" clId="{3768937E-7146-274F-B1CF-5E05B3741284}" dt="2023-12-06T03:04:12.651" v="452" actId="478"/>
          <ac:spMkLst>
            <pc:docMk/>
            <pc:sldMk cId="0" sldId="263"/>
            <ac:spMk id="261" creationId="{00000000-0000-0000-0000-000000000000}"/>
          </ac:spMkLst>
        </pc:spChg>
        <pc:spChg chg="del">
          <ac:chgData name="Jessy Hu" userId="f2d34ac4-8535-4a4b-87f4-a2602f82559e" providerId="ADAL" clId="{3768937E-7146-274F-B1CF-5E05B3741284}" dt="2023-12-06T03:04:12.651" v="452" actId="478"/>
          <ac:spMkLst>
            <pc:docMk/>
            <pc:sldMk cId="0" sldId="263"/>
            <ac:spMk id="262" creationId="{00000000-0000-0000-0000-000000000000}"/>
          </ac:spMkLst>
        </pc:spChg>
        <pc:spChg chg="del">
          <ac:chgData name="Jessy Hu" userId="f2d34ac4-8535-4a4b-87f4-a2602f82559e" providerId="ADAL" clId="{3768937E-7146-274F-B1CF-5E05B3741284}" dt="2023-12-06T03:04:12.651" v="452" actId="478"/>
          <ac:spMkLst>
            <pc:docMk/>
            <pc:sldMk cId="0" sldId="263"/>
            <ac:spMk id="263" creationId="{00000000-0000-0000-0000-000000000000}"/>
          </ac:spMkLst>
        </pc:spChg>
        <pc:spChg chg="mod">
          <ac:chgData name="Jessy Hu" userId="f2d34ac4-8535-4a4b-87f4-a2602f82559e" providerId="ADAL" clId="{3768937E-7146-274F-B1CF-5E05B3741284}" dt="2023-12-06T03:04:10.109" v="451" actId="20577"/>
          <ac:spMkLst>
            <pc:docMk/>
            <pc:sldMk cId="0" sldId="263"/>
            <ac:spMk id="264" creationId="{00000000-0000-0000-0000-000000000000}"/>
          </ac:spMkLst>
        </pc:spChg>
        <pc:picChg chg="add mod">
          <ac:chgData name="Jessy Hu" userId="f2d34ac4-8535-4a4b-87f4-a2602f82559e" providerId="ADAL" clId="{3768937E-7146-274F-B1CF-5E05B3741284}" dt="2023-12-06T03:04:25.225" v="462" actId="1076"/>
          <ac:picMkLst>
            <pc:docMk/>
            <pc:sldMk cId="0" sldId="263"/>
            <ac:picMk id="10" creationId="{534E788F-08AB-B09B-E0A5-C87867DF3B66}"/>
          </ac:picMkLst>
        </pc:picChg>
      </pc:sldChg>
      <pc:sldChg chg="addSp delSp modSp mod ord">
        <pc:chgData name="Jessy Hu" userId="f2d34ac4-8535-4a4b-87f4-a2602f82559e" providerId="ADAL" clId="{3768937E-7146-274F-B1CF-5E05B3741284}" dt="2023-12-06T02:35:49.757" v="148" actId="1076"/>
        <pc:sldMkLst>
          <pc:docMk/>
          <pc:sldMk cId="0" sldId="264"/>
        </pc:sldMkLst>
        <pc:spChg chg="add del mod">
          <ac:chgData name="Jessy Hu" userId="f2d34ac4-8535-4a4b-87f4-a2602f82559e" providerId="ADAL" clId="{3768937E-7146-274F-B1CF-5E05B3741284}" dt="2023-12-06T02:33:01.598" v="122" actId="478"/>
          <ac:spMkLst>
            <pc:docMk/>
            <pc:sldMk cId="0" sldId="264"/>
            <ac:spMk id="3" creationId="{36F53AB8-167E-122F-33EB-144F107317B4}"/>
          </ac:spMkLst>
        </pc:spChg>
        <pc:spChg chg="add del mod">
          <ac:chgData name="Jessy Hu" userId="f2d34ac4-8535-4a4b-87f4-a2602f82559e" providerId="ADAL" clId="{3768937E-7146-274F-B1CF-5E05B3741284}" dt="2023-12-06T02:33:01.598" v="122" actId="478"/>
          <ac:spMkLst>
            <pc:docMk/>
            <pc:sldMk cId="0" sldId="264"/>
            <ac:spMk id="5" creationId="{9D7B225E-D844-45DD-1A0C-A69E38021C54}"/>
          </ac:spMkLst>
        </pc:spChg>
        <pc:spChg chg="add del mod">
          <ac:chgData name="Jessy Hu" userId="f2d34ac4-8535-4a4b-87f4-a2602f82559e" providerId="ADAL" clId="{3768937E-7146-274F-B1CF-5E05B3741284}" dt="2023-12-06T02:33:01.598" v="122" actId="478"/>
          <ac:spMkLst>
            <pc:docMk/>
            <pc:sldMk cId="0" sldId="264"/>
            <ac:spMk id="7" creationId="{E37601F6-9FB0-6FA3-82D2-395EF8E6FCE6}"/>
          </ac:spMkLst>
        </pc:spChg>
        <pc:spChg chg="add del mod">
          <ac:chgData name="Jessy Hu" userId="f2d34ac4-8535-4a4b-87f4-a2602f82559e" providerId="ADAL" clId="{3768937E-7146-274F-B1CF-5E05B3741284}" dt="2023-12-06T02:33:01.598" v="122" actId="478"/>
          <ac:spMkLst>
            <pc:docMk/>
            <pc:sldMk cId="0" sldId="264"/>
            <ac:spMk id="9" creationId="{BCECA97C-FEEA-9B98-A52F-BEE0A592A5C9}"/>
          </ac:spMkLst>
        </pc:spChg>
        <pc:spChg chg="add del mod">
          <ac:chgData name="Jessy Hu" userId="f2d34ac4-8535-4a4b-87f4-a2602f82559e" providerId="ADAL" clId="{3768937E-7146-274F-B1CF-5E05B3741284}" dt="2023-12-06T02:33:09.983" v="126" actId="478"/>
          <ac:spMkLst>
            <pc:docMk/>
            <pc:sldMk cId="0" sldId="264"/>
            <ac:spMk id="11" creationId="{AB39DDFC-2E56-03E0-4348-55AF5003BB84}"/>
          </ac:spMkLst>
        </pc:spChg>
        <pc:spChg chg="add del mod">
          <ac:chgData name="Jessy Hu" userId="f2d34ac4-8535-4a4b-87f4-a2602f82559e" providerId="ADAL" clId="{3768937E-7146-274F-B1CF-5E05B3741284}" dt="2023-12-06T02:33:10.824" v="127" actId="478"/>
          <ac:spMkLst>
            <pc:docMk/>
            <pc:sldMk cId="0" sldId="264"/>
            <ac:spMk id="13" creationId="{B9B03182-DF15-A8B9-8F9D-C25D5793D4D0}"/>
          </ac:spMkLst>
        </pc:spChg>
        <pc:spChg chg="del">
          <ac:chgData name="Jessy Hu" userId="f2d34ac4-8535-4a4b-87f4-a2602f82559e" providerId="ADAL" clId="{3768937E-7146-274F-B1CF-5E05B3741284}" dt="2023-12-06T02:32:59.304" v="121" actId="478"/>
          <ac:spMkLst>
            <pc:docMk/>
            <pc:sldMk cId="0" sldId="264"/>
            <ac:spMk id="269" creationId="{00000000-0000-0000-0000-000000000000}"/>
          </ac:spMkLst>
        </pc:spChg>
        <pc:spChg chg="del">
          <ac:chgData name="Jessy Hu" userId="f2d34ac4-8535-4a4b-87f4-a2602f82559e" providerId="ADAL" clId="{3768937E-7146-274F-B1CF-5E05B3741284}" dt="2023-12-06T02:32:59.304" v="121" actId="478"/>
          <ac:spMkLst>
            <pc:docMk/>
            <pc:sldMk cId="0" sldId="264"/>
            <ac:spMk id="270" creationId="{00000000-0000-0000-0000-000000000000}"/>
          </ac:spMkLst>
        </pc:spChg>
        <pc:spChg chg="del">
          <ac:chgData name="Jessy Hu" userId="f2d34ac4-8535-4a4b-87f4-a2602f82559e" providerId="ADAL" clId="{3768937E-7146-274F-B1CF-5E05B3741284}" dt="2023-12-06T02:32:59.304" v="121" actId="478"/>
          <ac:spMkLst>
            <pc:docMk/>
            <pc:sldMk cId="0" sldId="264"/>
            <ac:spMk id="271" creationId="{00000000-0000-0000-0000-000000000000}"/>
          </ac:spMkLst>
        </pc:spChg>
        <pc:spChg chg="del">
          <ac:chgData name="Jessy Hu" userId="f2d34ac4-8535-4a4b-87f4-a2602f82559e" providerId="ADAL" clId="{3768937E-7146-274F-B1CF-5E05B3741284}" dt="2023-12-06T02:32:59.304" v="121" actId="478"/>
          <ac:spMkLst>
            <pc:docMk/>
            <pc:sldMk cId="0" sldId="264"/>
            <ac:spMk id="272" creationId="{00000000-0000-0000-0000-000000000000}"/>
          </ac:spMkLst>
        </pc:spChg>
        <pc:spChg chg="del mod">
          <ac:chgData name="Jessy Hu" userId="f2d34ac4-8535-4a4b-87f4-a2602f82559e" providerId="ADAL" clId="{3768937E-7146-274F-B1CF-5E05B3741284}" dt="2023-12-06T02:33:07.301" v="125" actId="478"/>
          <ac:spMkLst>
            <pc:docMk/>
            <pc:sldMk cId="0" sldId="264"/>
            <ac:spMk id="273" creationId="{00000000-0000-0000-0000-000000000000}"/>
          </ac:spMkLst>
        </pc:spChg>
        <pc:spChg chg="del">
          <ac:chgData name="Jessy Hu" userId="f2d34ac4-8535-4a4b-87f4-a2602f82559e" providerId="ADAL" clId="{3768937E-7146-274F-B1CF-5E05B3741284}" dt="2023-12-06T02:33:05.953" v="124" actId="478"/>
          <ac:spMkLst>
            <pc:docMk/>
            <pc:sldMk cId="0" sldId="264"/>
            <ac:spMk id="274" creationId="{00000000-0000-0000-0000-000000000000}"/>
          </ac:spMkLst>
        </pc:spChg>
        <pc:spChg chg="del">
          <ac:chgData name="Jessy Hu" userId="f2d34ac4-8535-4a4b-87f4-a2602f82559e" providerId="ADAL" clId="{3768937E-7146-274F-B1CF-5E05B3741284}" dt="2023-12-06T02:32:59.304" v="121" actId="478"/>
          <ac:spMkLst>
            <pc:docMk/>
            <pc:sldMk cId="0" sldId="264"/>
            <ac:spMk id="275" creationId="{00000000-0000-0000-0000-000000000000}"/>
          </ac:spMkLst>
        </pc:spChg>
        <pc:spChg chg="del">
          <ac:chgData name="Jessy Hu" userId="f2d34ac4-8535-4a4b-87f4-a2602f82559e" providerId="ADAL" clId="{3768937E-7146-274F-B1CF-5E05B3741284}" dt="2023-12-06T02:32:59.304" v="121" actId="478"/>
          <ac:spMkLst>
            <pc:docMk/>
            <pc:sldMk cId="0" sldId="264"/>
            <ac:spMk id="276" creationId="{00000000-0000-0000-0000-000000000000}"/>
          </ac:spMkLst>
        </pc:spChg>
        <pc:spChg chg="del">
          <ac:chgData name="Jessy Hu" userId="f2d34ac4-8535-4a4b-87f4-a2602f82559e" providerId="ADAL" clId="{3768937E-7146-274F-B1CF-5E05B3741284}" dt="2023-12-06T02:32:59.304" v="121" actId="478"/>
          <ac:spMkLst>
            <pc:docMk/>
            <pc:sldMk cId="0" sldId="264"/>
            <ac:spMk id="277" creationId="{00000000-0000-0000-0000-000000000000}"/>
          </ac:spMkLst>
        </pc:spChg>
        <pc:spChg chg="mod">
          <ac:chgData name="Jessy Hu" userId="f2d34ac4-8535-4a4b-87f4-a2602f82559e" providerId="ADAL" clId="{3768937E-7146-274F-B1CF-5E05B3741284}" dt="2023-12-06T02:35:49.757" v="148" actId="1076"/>
          <ac:spMkLst>
            <pc:docMk/>
            <pc:sldMk cId="0" sldId="264"/>
            <ac:spMk id="293" creationId="{00000000-0000-0000-0000-000000000000}"/>
          </ac:spMkLst>
        </pc:spChg>
        <pc:grpChg chg="del">
          <ac:chgData name="Jessy Hu" userId="f2d34ac4-8535-4a4b-87f4-a2602f82559e" providerId="ADAL" clId="{3768937E-7146-274F-B1CF-5E05B3741284}" dt="2023-12-06T02:32:59.304" v="121" actId="478"/>
          <ac:grpSpMkLst>
            <pc:docMk/>
            <pc:sldMk cId="0" sldId="264"/>
            <ac:grpSpMk id="278" creationId="{00000000-0000-0000-0000-000000000000}"/>
          </ac:grpSpMkLst>
        </pc:grpChg>
        <pc:grpChg chg="del">
          <ac:chgData name="Jessy Hu" userId="f2d34ac4-8535-4a4b-87f4-a2602f82559e" providerId="ADAL" clId="{3768937E-7146-274F-B1CF-5E05B3741284}" dt="2023-12-06T02:32:59.304" v="121" actId="478"/>
          <ac:grpSpMkLst>
            <pc:docMk/>
            <pc:sldMk cId="0" sldId="264"/>
            <ac:grpSpMk id="283" creationId="{00000000-0000-0000-0000-000000000000}"/>
          </ac:grpSpMkLst>
        </pc:grpChg>
        <pc:grpChg chg="del">
          <ac:chgData name="Jessy Hu" userId="f2d34ac4-8535-4a4b-87f4-a2602f82559e" providerId="ADAL" clId="{3768937E-7146-274F-B1CF-5E05B3741284}" dt="2023-12-06T02:32:59.304" v="121" actId="478"/>
          <ac:grpSpMkLst>
            <pc:docMk/>
            <pc:sldMk cId="0" sldId="264"/>
            <ac:grpSpMk id="288" creationId="{00000000-0000-0000-0000-000000000000}"/>
          </ac:grpSpMkLst>
        </pc:grpChg>
        <pc:graphicFrameChg chg="add mod modGraphic">
          <ac:chgData name="Jessy Hu" userId="f2d34ac4-8535-4a4b-87f4-a2602f82559e" providerId="ADAL" clId="{3768937E-7146-274F-B1CF-5E05B3741284}" dt="2023-12-06T02:34:34.338" v="135" actId="1076"/>
          <ac:graphicFrameMkLst>
            <pc:docMk/>
            <pc:sldMk cId="0" sldId="264"/>
            <ac:graphicFrameMk id="14" creationId="{637BD348-5429-9306-8A9A-14F4929156F6}"/>
          </ac:graphicFrameMkLst>
        </pc:graphicFrameChg>
      </pc:sldChg>
      <pc:sldChg chg="addSp delSp modSp mod ord">
        <pc:chgData name="Jessy Hu" userId="f2d34ac4-8535-4a4b-87f4-a2602f82559e" providerId="ADAL" clId="{3768937E-7146-274F-B1CF-5E05B3741284}" dt="2023-12-06T02:56:23.085" v="287" actId="404"/>
        <pc:sldMkLst>
          <pc:docMk/>
          <pc:sldMk cId="0" sldId="266"/>
        </pc:sldMkLst>
        <pc:spChg chg="add del mod">
          <ac:chgData name="Jessy Hu" userId="f2d34ac4-8535-4a4b-87f4-a2602f82559e" providerId="ADAL" clId="{3768937E-7146-274F-B1CF-5E05B3741284}" dt="2023-12-06T02:55:57.140" v="256" actId="478"/>
          <ac:spMkLst>
            <pc:docMk/>
            <pc:sldMk cId="0" sldId="266"/>
            <ac:spMk id="3" creationId="{0B813562-C6A5-1FEF-C5A5-B5574D96E03B}"/>
          </ac:spMkLst>
        </pc:spChg>
        <pc:spChg chg="mod">
          <ac:chgData name="Jessy Hu" userId="f2d34ac4-8535-4a4b-87f4-a2602f82559e" providerId="ADAL" clId="{3768937E-7146-274F-B1CF-5E05B3741284}" dt="2023-12-06T02:56:23.085" v="287" actId="404"/>
          <ac:spMkLst>
            <pc:docMk/>
            <pc:sldMk cId="0" sldId="266"/>
            <ac:spMk id="315" creationId="{00000000-0000-0000-0000-000000000000}"/>
          </ac:spMkLst>
        </pc:spChg>
        <pc:spChg chg="del">
          <ac:chgData name="Jessy Hu" userId="f2d34ac4-8535-4a4b-87f4-a2602f82559e" providerId="ADAL" clId="{3768937E-7146-274F-B1CF-5E05B3741284}" dt="2023-12-06T02:55:55.060" v="255" actId="478"/>
          <ac:spMkLst>
            <pc:docMk/>
            <pc:sldMk cId="0" sldId="266"/>
            <ac:spMk id="316" creationId="{00000000-0000-0000-0000-000000000000}"/>
          </ac:spMkLst>
        </pc:spChg>
      </pc:sldChg>
      <pc:sldChg chg="addSp delSp modSp mod ord">
        <pc:chgData name="Jessy Hu" userId="f2d34ac4-8535-4a4b-87f4-a2602f82559e" providerId="ADAL" clId="{3768937E-7146-274F-B1CF-5E05B3741284}" dt="2023-12-06T03:08:49.344" v="579" actId="478"/>
        <pc:sldMkLst>
          <pc:docMk/>
          <pc:sldMk cId="1617173535" sldId="272"/>
        </pc:sldMkLst>
        <pc:spChg chg="add del mod">
          <ac:chgData name="Jessy Hu" userId="f2d34ac4-8535-4a4b-87f4-a2602f82559e" providerId="ADAL" clId="{3768937E-7146-274F-B1CF-5E05B3741284}" dt="2023-12-06T03:08:49.344" v="579" actId="478"/>
          <ac:spMkLst>
            <pc:docMk/>
            <pc:sldMk cId="1617173535" sldId="272"/>
            <ac:spMk id="3" creationId="{833C8518-B35E-D882-3685-48934BBCCBB9}"/>
          </ac:spMkLst>
        </pc:spChg>
        <pc:spChg chg="mod">
          <ac:chgData name="Jessy Hu" userId="f2d34ac4-8535-4a4b-87f4-a2602f82559e" providerId="ADAL" clId="{3768937E-7146-274F-B1CF-5E05B3741284}" dt="2023-12-06T03:08:44.226" v="577" actId="404"/>
          <ac:spMkLst>
            <pc:docMk/>
            <pc:sldMk cId="1617173535" sldId="272"/>
            <ac:spMk id="547" creationId="{00000000-0000-0000-0000-000000000000}"/>
          </ac:spMkLst>
        </pc:spChg>
        <pc:spChg chg="del">
          <ac:chgData name="Jessy Hu" userId="f2d34ac4-8535-4a4b-87f4-a2602f82559e" providerId="ADAL" clId="{3768937E-7146-274F-B1CF-5E05B3741284}" dt="2023-12-06T03:08:47.217" v="578" actId="478"/>
          <ac:spMkLst>
            <pc:docMk/>
            <pc:sldMk cId="1617173535" sldId="272"/>
            <ac:spMk id="548" creationId="{00000000-0000-0000-0000-000000000000}"/>
          </ac:spMkLst>
        </pc:spChg>
      </pc:sldChg>
      <pc:sldChg chg="modSp mod">
        <pc:chgData name="Jessy Hu" userId="f2d34ac4-8535-4a4b-87f4-a2602f82559e" providerId="ADAL" clId="{3768937E-7146-274F-B1CF-5E05B3741284}" dt="2023-12-08T00:57:17.931" v="4920" actId="1076"/>
        <pc:sldMkLst>
          <pc:docMk/>
          <pc:sldMk cId="0" sldId="279"/>
        </pc:sldMkLst>
        <pc:spChg chg="mod">
          <ac:chgData name="Jessy Hu" userId="f2d34ac4-8535-4a4b-87f4-a2602f82559e" providerId="ADAL" clId="{3768937E-7146-274F-B1CF-5E05B3741284}" dt="2023-12-08T00:57:17.931" v="4920" actId="1076"/>
          <ac:spMkLst>
            <pc:docMk/>
            <pc:sldMk cId="0" sldId="279"/>
            <ac:spMk id="823" creationId="{00000000-0000-0000-0000-000000000000}"/>
          </ac:spMkLst>
        </pc:spChg>
      </pc:sldChg>
      <pc:sldChg chg="modSp mod">
        <pc:chgData name="Jessy Hu" userId="f2d34ac4-8535-4a4b-87f4-a2602f82559e" providerId="ADAL" clId="{3768937E-7146-274F-B1CF-5E05B3741284}" dt="2023-12-06T21:23:11.726" v="1300" actId="1076"/>
        <pc:sldMkLst>
          <pc:docMk/>
          <pc:sldMk cId="0" sldId="283"/>
        </pc:sldMkLst>
        <pc:spChg chg="mod">
          <ac:chgData name="Jessy Hu" userId="f2d34ac4-8535-4a4b-87f4-a2602f82559e" providerId="ADAL" clId="{3768937E-7146-274F-B1CF-5E05B3741284}" dt="2023-12-06T21:23:11.726" v="1300" actId="1076"/>
          <ac:spMkLst>
            <pc:docMk/>
            <pc:sldMk cId="0" sldId="283"/>
            <ac:spMk id="888" creationId="{00000000-0000-0000-0000-000000000000}"/>
          </ac:spMkLst>
        </pc:spChg>
      </pc:sldChg>
      <pc:sldChg chg="modSp mod ord">
        <pc:chgData name="Jessy Hu" userId="f2d34ac4-8535-4a4b-87f4-a2602f82559e" providerId="ADAL" clId="{3768937E-7146-274F-B1CF-5E05B3741284}" dt="2023-12-07T05:05:47.393" v="4282" actId="20577"/>
        <pc:sldMkLst>
          <pc:docMk/>
          <pc:sldMk cId="4076952846" sldId="285"/>
        </pc:sldMkLst>
        <pc:spChg chg="mod">
          <ac:chgData name="Jessy Hu" userId="f2d34ac4-8535-4a4b-87f4-a2602f82559e" providerId="ADAL" clId="{3768937E-7146-274F-B1CF-5E05B3741284}" dt="2023-12-07T05:05:47.393" v="4282" actId="20577"/>
          <ac:spMkLst>
            <pc:docMk/>
            <pc:sldMk cId="4076952846" sldId="285"/>
            <ac:spMk id="900" creationId="{00000000-0000-0000-0000-000000000000}"/>
          </ac:spMkLst>
        </pc:spChg>
      </pc:sldChg>
      <pc:sldChg chg="addSp delSp modSp mod ord addCm">
        <pc:chgData name="Jessy Hu" userId="f2d34ac4-8535-4a4b-87f4-a2602f82559e" providerId="ADAL" clId="{3768937E-7146-274F-B1CF-5E05B3741284}" dt="2023-12-06T03:02:00.344" v="403"/>
        <pc:sldMkLst>
          <pc:docMk/>
          <pc:sldMk cId="0" sldId="286"/>
        </pc:sldMkLst>
        <pc:spChg chg="add mod">
          <ac:chgData name="Jessy Hu" userId="f2d34ac4-8535-4a4b-87f4-a2602f82559e" providerId="ADAL" clId="{3768937E-7146-274F-B1CF-5E05B3741284}" dt="2023-12-06T03:01:27.560" v="402" actId="1076"/>
          <ac:spMkLst>
            <pc:docMk/>
            <pc:sldMk cId="0" sldId="286"/>
            <ac:spMk id="10" creationId="{EFE33755-371F-6012-85D2-2D3909A727A4}"/>
          </ac:spMkLst>
        </pc:spChg>
        <pc:spChg chg="mod">
          <ac:chgData name="Jessy Hu" userId="f2d34ac4-8535-4a4b-87f4-a2602f82559e" providerId="ADAL" clId="{3768937E-7146-274F-B1CF-5E05B3741284}" dt="2023-12-06T02:59:48.056" v="354" actId="20577"/>
          <ac:spMkLst>
            <pc:docMk/>
            <pc:sldMk cId="0" sldId="286"/>
            <ac:spMk id="908" creationId="{00000000-0000-0000-0000-000000000000}"/>
          </ac:spMkLst>
        </pc:spChg>
        <pc:spChg chg="del mod">
          <ac:chgData name="Jessy Hu" userId="f2d34ac4-8535-4a4b-87f4-a2602f82559e" providerId="ADAL" clId="{3768937E-7146-274F-B1CF-5E05B3741284}" dt="2023-12-06T02:59:38.769" v="334" actId="478"/>
          <ac:spMkLst>
            <pc:docMk/>
            <pc:sldMk cId="0" sldId="286"/>
            <ac:spMk id="909" creationId="{00000000-0000-0000-0000-000000000000}"/>
          </ac:spMkLst>
        </pc:spChg>
        <pc:spChg chg="del mod">
          <ac:chgData name="Jessy Hu" userId="f2d34ac4-8535-4a4b-87f4-a2602f82559e" providerId="ADAL" clId="{3768937E-7146-274F-B1CF-5E05B3741284}" dt="2023-12-06T03:00:00.327" v="357" actId="478"/>
          <ac:spMkLst>
            <pc:docMk/>
            <pc:sldMk cId="0" sldId="286"/>
            <ac:spMk id="910" creationId="{00000000-0000-0000-0000-000000000000}"/>
          </ac:spMkLst>
        </pc:spChg>
        <pc:spChg chg="del mod">
          <ac:chgData name="Jessy Hu" userId="f2d34ac4-8535-4a4b-87f4-a2602f82559e" providerId="ADAL" clId="{3768937E-7146-274F-B1CF-5E05B3741284}" dt="2023-12-06T02:59:59.171" v="356" actId="478"/>
          <ac:spMkLst>
            <pc:docMk/>
            <pc:sldMk cId="0" sldId="286"/>
            <ac:spMk id="911" creationId="{00000000-0000-0000-0000-000000000000}"/>
          </ac:spMkLst>
        </pc:spChg>
        <pc:spChg chg="del">
          <ac:chgData name="Jessy Hu" userId="f2d34ac4-8535-4a4b-87f4-a2602f82559e" providerId="ADAL" clId="{3768937E-7146-274F-B1CF-5E05B3741284}" dt="2023-12-06T02:58:49.876" v="327" actId="478"/>
          <ac:spMkLst>
            <pc:docMk/>
            <pc:sldMk cId="0" sldId="286"/>
            <ac:spMk id="912" creationId="{00000000-0000-0000-0000-000000000000}"/>
          </ac:spMkLst>
        </pc:spChg>
        <pc:spChg chg="del">
          <ac:chgData name="Jessy Hu" userId="f2d34ac4-8535-4a4b-87f4-a2602f82559e" providerId="ADAL" clId="{3768937E-7146-274F-B1CF-5E05B3741284}" dt="2023-12-06T02:58:51.029" v="328" actId="478"/>
          <ac:spMkLst>
            <pc:docMk/>
            <pc:sldMk cId="0" sldId="286"/>
            <ac:spMk id="913" creationId="{00000000-0000-0000-0000-000000000000}"/>
          </ac:spMkLst>
        </pc:spChg>
        <pc:spChg chg="mod">
          <ac:chgData name="Jessy Hu" userId="f2d34ac4-8535-4a4b-87f4-a2602f82559e" providerId="ADAL" clId="{3768937E-7146-274F-B1CF-5E05B3741284}" dt="2023-12-06T03:00:58.073" v="369" actId="1076"/>
          <ac:spMkLst>
            <pc:docMk/>
            <pc:sldMk cId="0" sldId="286"/>
            <ac:spMk id="914" creationId="{00000000-0000-0000-0000-000000000000}"/>
          </ac:spMkLst>
        </pc:spChg>
        <pc:spChg chg="del mod">
          <ac:chgData name="Jessy Hu" userId="f2d34ac4-8535-4a4b-87f4-a2602f82559e" providerId="ADAL" clId="{3768937E-7146-274F-B1CF-5E05B3741284}" dt="2023-12-06T03:00:23.594" v="360" actId="478"/>
          <ac:spMkLst>
            <pc:docMk/>
            <pc:sldMk cId="0" sldId="286"/>
            <ac:spMk id="915" creationId="{00000000-0000-0000-0000-000000000000}"/>
          </ac:spMkLst>
        </pc:spChg>
        <pc:spChg chg="del mod">
          <ac:chgData name="Jessy Hu" userId="f2d34ac4-8535-4a4b-87f4-a2602f82559e" providerId="ADAL" clId="{3768937E-7146-274F-B1CF-5E05B3741284}" dt="2023-12-06T02:58:41.950" v="320" actId="478"/>
          <ac:spMkLst>
            <pc:docMk/>
            <pc:sldMk cId="0" sldId="286"/>
            <ac:spMk id="916" creationId="{00000000-0000-0000-0000-000000000000}"/>
          </ac:spMkLst>
        </pc:spChg>
        <pc:spChg chg="del">
          <ac:chgData name="Jessy Hu" userId="f2d34ac4-8535-4a4b-87f4-a2602f82559e" providerId="ADAL" clId="{3768937E-7146-274F-B1CF-5E05B3741284}" dt="2023-12-06T02:58:43.065" v="321" actId="478"/>
          <ac:spMkLst>
            <pc:docMk/>
            <pc:sldMk cId="0" sldId="286"/>
            <ac:spMk id="917" creationId="{00000000-0000-0000-0000-000000000000}"/>
          </ac:spMkLst>
        </pc:spChg>
        <pc:spChg chg="mod">
          <ac:chgData name="Jessy Hu" userId="f2d34ac4-8535-4a4b-87f4-a2602f82559e" providerId="ADAL" clId="{3768937E-7146-274F-B1CF-5E05B3741284}" dt="2023-12-06T02:59:36.225" v="333" actId="1076"/>
          <ac:spMkLst>
            <pc:docMk/>
            <pc:sldMk cId="0" sldId="286"/>
            <ac:spMk id="919" creationId="{00000000-0000-0000-0000-000000000000}"/>
          </ac:spMkLst>
        </pc:spChg>
        <pc:spChg chg="mod">
          <ac:chgData name="Jessy Hu" userId="f2d34ac4-8535-4a4b-87f4-a2602f82559e" providerId="ADAL" clId="{3768937E-7146-274F-B1CF-5E05B3741284}" dt="2023-12-06T03:01:04.620" v="372" actId="1076"/>
          <ac:spMkLst>
            <pc:docMk/>
            <pc:sldMk cId="0" sldId="286"/>
            <ac:spMk id="920" creationId="{00000000-0000-0000-0000-000000000000}"/>
          </ac:spMkLst>
        </pc:spChg>
        <pc:spChg chg="mod">
          <ac:chgData name="Jessy Hu" userId="f2d34ac4-8535-4a4b-87f4-a2602f82559e" providerId="ADAL" clId="{3768937E-7146-274F-B1CF-5E05B3741284}" dt="2023-12-06T03:01:03.256" v="371" actId="1076"/>
          <ac:spMkLst>
            <pc:docMk/>
            <pc:sldMk cId="0" sldId="286"/>
            <ac:spMk id="922" creationId="{00000000-0000-0000-0000-000000000000}"/>
          </ac:spMkLst>
        </pc:spChg>
        <pc:spChg chg="del">
          <ac:chgData name="Jessy Hu" userId="f2d34ac4-8535-4a4b-87f4-a2602f82559e" providerId="ADAL" clId="{3768937E-7146-274F-B1CF-5E05B3741284}" dt="2023-12-06T02:58:40.207" v="318" actId="478"/>
          <ac:spMkLst>
            <pc:docMk/>
            <pc:sldMk cId="0" sldId="286"/>
            <ac:spMk id="924" creationId="{00000000-0000-0000-0000-000000000000}"/>
          </ac:spMkLst>
        </pc:spChg>
        <pc:spChg chg="del">
          <ac:chgData name="Jessy Hu" userId="f2d34ac4-8535-4a4b-87f4-a2602f82559e" providerId="ADAL" clId="{3768937E-7146-274F-B1CF-5E05B3741284}" dt="2023-12-06T02:58:47.808" v="325" actId="478"/>
          <ac:spMkLst>
            <pc:docMk/>
            <pc:sldMk cId="0" sldId="286"/>
            <ac:spMk id="926" creationId="{00000000-0000-0000-0000-000000000000}"/>
          </ac:spMkLst>
        </pc:spChg>
        <pc:spChg chg="mod">
          <ac:chgData name="Jessy Hu" userId="f2d34ac4-8535-4a4b-87f4-a2602f82559e" providerId="ADAL" clId="{3768937E-7146-274F-B1CF-5E05B3741284}" dt="2023-12-06T03:01:09.518" v="374" actId="1076"/>
          <ac:spMkLst>
            <pc:docMk/>
            <pc:sldMk cId="0" sldId="286"/>
            <ac:spMk id="932" creationId="{00000000-0000-0000-0000-000000000000}"/>
          </ac:spMkLst>
        </pc:spChg>
        <pc:spChg chg="mod">
          <ac:chgData name="Jessy Hu" userId="f2d34ac4-8535-4a4b-87f4-a2602f82559e" providerId="ADAL" clId="{3768937E-7146-274F-B1CF-5E05B3741284}" dt="2023-12-06T02:58:45.199" v="323" actId="1076"/>
          <ac:spMkLst>
            <pc:docMk/>
            <pc:sldMk cId="0" sldId="286"/>
            <ac:spMk id="950" creationId="{00000000-0000-0000-0000-000000000000}"/>
          </ac:spMkLst>
        </pc:spChg>
        <pc:grpChg chg="mod">
          <ac:chgData name="Jessy Hu" userId="f2d34ac4-8535-4a4b-87f4-a2602f82559e" providerId="ADAL" clId="{3768937E-7146-274F-B1CF-5E05B3741284}" dt="2023-12-06T03:01:07.596" v="373" actId="1076"/>
          <ac:grpSpMkLst>
            <pc:docMk/>
            <pc:sldMk cId="0" sldId="286"/>
            <ac:grpSpMk id="927" creationId="{00000000-0000-0000-0000-000000000000}"/>
          </ac:grpSpMkLst>
        </pc:grpChg>
        <pc:grpChg chg="mod">
          <ac:chgData name="Jessy Hu" userId="f2d34ac4-8535-4a4b-87f4-a2602f82559e" providerId="ADAL" clId="{3768937E-7146-274F-B1CF-5E05B3741284}" dt="2023-12-06T02:59:36.225" v="333" actId="1076"/>
          <ac:grpSpMkLst>
            <pc:docMk/>
            <pc:sldMk cId="0" sldId="286"/>
            <ac:grpSpMk id="933" creationId="{00000000-0000-0000-0000-000000000000}"/>
          </ac:grpSpMkLst>
        </pc:grpChg>
        <pc:grpChg chg="del">
          <ac:chgData name="Jessy Hu" userId="f2d34ac4-8535-4a4b-87f4-a2602f82559e" providerId="ADAL" clId="{3768937E-7146-274F-B1CF-5E05B3741284}" dt="2023-12-06T02:58:46.898" v="324" actId="478"/>
          <ac:grpSpMkLst>
            <pc:docMk/>
            <pc:sldMk cId="0" sldId="286"/>
            <ac:grpSpMk id="939" creationId="{00000000-0000-0000-0000-000000000000}"/>
          </ac:grpSpMkLst>
        </pc:grpChg>
        <pc:grpChg chg="del">
          <ac:chgData name="Jessy Hu" userId="f2d34ac4-8535-4a4b-87f4-a2602f82559e" providerId="ADAL" clId="{3768937E-7146-274F-B1CF-5E05B3741284}" dt="2023-12-06T02:58:35.137" v="315" actId="478"/>
          <ac:grpSpMkLst>
            <pc:docMk/>
            <pc:sldMk cId="0" sldId="286"/>
            <ac:grpSpMk id="946" creationId="{00000000-0000-0000-0000-000000000000}"/>
          </ac:grpSpMkLst>
        </pc:grpChg>
        <pc:cxnChg chg="mod">
          <ac:chgData name="Jessy Hu" userId="f2d34ac4-8535-4a4b-87f4-a2602f82559e" providerId="ADAL" clId="{3768937E-7146-274F-B1CF-5E05B3741284}" dt="2023-12-06T03:01:04.620" v="372" actId="1076"/>
          <ac:cxnSpMkLst>
            <pc:docMk/>
            <pc:sldMk cId="0" sldId="286"/>
            <ac:cxnSpMk id="918" creationId="{00000000-0000-0000-0000-000000000000}"/>
          </ac:cxnSpMkLst>
        </pc:cxnChg>
        <pc:cxnChg chg="mod">
          <ac:chgData name="Jessy Hu" userId="f2d34ac4-8535-4a4b-87f4-a2602f82559e" providerId="ADAL" clId="{3768937E-7146-274F-B1CF-5E05B3741284}" dt="2023-12-06T03:01:04.620" v="372" actId="1076"/>
          <ac:cxnSpMkLst>
            <pc:docMk/>
            <pc:sldMk cId="0" sldId="286"/>
            <ac:cxnSpMk id="921" creationId="{00000000-0000-0000-0000-000000000000}"/>
          </ac:cxnSpMkLst>
        </pc:cxnChg>
        <pc:cxnChg chg="del mod">
          <ac:chgData name="Jessy Hu" userId="f2d34ac4-8535-4a4b-87f4-a2602f82559e" providerId="ADAL" clId="{3768937E-7146-274F-B1CF-5E05B3741284}" dt="2023-12-06T02:58:34.520" v="314" actId="478"/>
          <ac:cxnSpMkLst>
            <pc:docMk/>
            <pc:sldMk cId="0" sldId="286"/>
            <ac:cxnSpMk id="923" creationId="{00000000-0000-0000-0000-000000000000}"/>
          </ac:cxnSpMkLst>
        </pc:cxnChg>
        <pc:cxnChg chg="del mod">
          <ac:chgData name="Jessy Hu" userId="f2d34ac4-8535-4a4b-87f4-a2602f82559e" providerId="ADAL" clId="{3768937E-7146-274F-B1CF-5E05B3741284}" dt="2023-12-06T02:58:48.606" v="326" actId="478"/>
          <ac:cxnSpMkLst>
            <pc:docMk/>
            <pc:sldMk cId="0" sldId="286"/>
            <ac:cxnSpMk id="925" creationId="{00000000-0000-0000-0000-000000000000}"/>
          </ac:cxnSpMkLst>
        </pc:cxnChg>
      </pc:sldChg>
      <pc:sldChg chg="modSp add mod">
        <pc:chgData name="Jessy Hu" userId="f2d34ac4-8535-4a4b-87f4-a2602f82559e" providerId="ADAL" clId="{3768937E-7146-274F-B1CF-5E05B3741284}" dt="2023-12-06T23:07:02.493" v="3135" actId="20577"/>
        <pc:sldMkLst>
          <pc:docMk/>
          <pc:sldMk cId="2447905169" sldId="288"/>
        </pc:sldMkLst>
        <pc:spChg chg="mod">
          <ac:chgData name="Jessy Hu" userId="f2d34ac4-8535-4a4b-87f4-a2602f82559e" providerId="ADAL" clId="{3768937E-7146-274F-B1CF-5E05B3741284}" dt="2023-12-06T23:07:02.493" v="3135" actId="20577"/>
          <ac:spMkLst>
            <pc:docMk/>
            <pc:sldMk cId="2447905169" sldId="288"/>
            <ac:spMk id="962" creationId="{00000000-0000-0000-0000-000000000000}"/>
          </ac:spMkLst>
        </pc:spChg>
      </pc:sldChg>
      <pc:sldChg chg="addSp delSp modSp new mod">
        <pc:chgData name="Jessy Hu" userId="f2d34ac4-8535-4a4b-87f4-a2602f82559e" providerId="ADAL" clId="{3768937E-7146-274F-B1CF-5E05B3741284}" dt="2023-12-06T02:37:45.224" v="179" actId="1076"/>
        <pc:sldMkLst>
          <pc:docMk/>
          <pc:sldMk cId="3208453393" sldId="314"/>
        </pc:sldMkLst>
        <pc:spChg chg="del">
          <ac:chgData name="Jessy Hu" userId="f2d34ac4-8535-4a4b-87f4-a2602f82559e" providerId="ADAL" clId="{3768937E-7146-274F-B1CF-5E05B3741284}" dt="2023-12-06T02:34:56.689" v="138" actId="478"/>
          <ac:spMkLst>
            <pc:docMk/>
            <pc:sldMk cId="3208453393" sldId="314"/>
            <ac:spMk id="2" creationId="{70240E6B-A20C-1F36-50C0-7943182891B7}"/>
          </ac:spMkLst>
        </pc:spChg>
        <pc:spChg chg="del">
          <ac:chgData name="Jessy Hu" userId="f2d34ac4-8535-4a4b-87f4-a2602f82559e" providerId="ADAL" clId="{3768937E-7146-274F-B1CF-5E05B3741284}" dt="2023-12-06T02:34:54.386" v="137" actId="478"/>
          <ac:spMkLst>
            <pc:docMk/>
            <pc:sldMk cId="3208453393" sldId="314"/>
            <ac:spMk id="3" creationId="{B1CACE40-3B4C-37DD-23DB-95E80B2CCABB}"/>
          </ac:spMkLst>
        </pc:spChg>
        <pc:spChg chg="del">
          <ac:chgData name="Jessy Hu" userId="f2d34ac4-8535-4a4b-87f4-a2602f82559e" providerId="ADAL" clId="{3768937E-7146-274F-B1CF-5E05B3741284}" dt="2023-12-06T02:34:54.386" v="137" actId="478"/>
          <ac:spMkLst>
            <pc:docMk/>
            <pc:sldMk cId="3208453393" sldId="314"/>
            <ac:spMk id="4" creationId="{5DB8030A-0AFE-F650-EBAB-CF8032AE6FD5}"/>
          </ac:spMkLst>
        </pc:spChg>
        <pc:spChg chg="del">
          <ac:chgData name="Jessy Hu" userId="f2d34ac4-8535-4a4b-87f4-a2602f82559e" providerId="ADAL" clId="{3768937E-7146-274F-B1CF-5E05B3741284}" dt="2023-12-06T02:34:54.386" v="137" actId="478"/>
          <ac:spMkLst>
            <pc:docMk/>
            <pc:sldMk cId="3208453393" sldId="314"/>
            <ac:spMk id="5" creationId="{9862F530-9F0F-E9D8-E466-5F1AA6CA283C}"/>
          </ac:spMkLst>
        </pc:spChg>
        <pc:spChg chg="del">
          <ac:chgData name="Jessy Hu" userId="f2d34ac4-8535-4a4b-87f4-a2602f82559e" providerId="ADAL" clId="{3768937E-7146-274F-B1CF-5E05B3741284}" dt="2023-12-06T02:34:54.386" v="137" actId="478"/>
          <ac:spMkLst>
            <pc:docMk/>
            <pc:sldMk cId="3208453393" sldId="314"/>
            <ac:spMk id="6" creationId="{7AE7E3A6-1390-BCB1-BCFB-F7D14EF78ACD}"/>
          </ac:spMkLst>
        </pc:spChg>
        <pc:spChg chg="del">
          <ac:chgData name="Jessy Hu" userId="f2d34ac4-8535-4a4b-87f4-a2602f82559e" providerId="ADAL" clId="{3768937E-7146-274F-B1CF-5E05B3741284}" dt="2023-12-06T02:34:54.386" v="137" actId="478"/>
          <ac:spMkLst>
            <pc:docMk/>
            <pc:sldMk cId="3208453393" sldId="314"/>
            <ac:spMk id="7" creationId="{7EB5954D-2BCD-1DB5-2054-BE2E51F3E43E}"/>
          </ac:spMkLst>
        </pc:spChg>
        <pc:spChg chg="del">
          <ac:chgData name="Jessy Hu" userId="f2d34ac4-8535-4a4b-87f4-a2602f82559e" providerId="ADAL" clId="{3768937E-7146-274F-B1CF-5E05B3741284}" dt="2023-12-06T02:34:54.386" v="137" actId="478"/>
          <ac:spMkLst>
            <pc:docMk/>
            <pc:sldMk cId="3208453393" sldId="314"/>
            <ac:spMk id="8" creationId="{5E28DFDB-E83B-8E0C-3193-D9A0109FF2B9}"/>
          </ac:spMkLst>
        </pc:spChg>
        <pc:spChg chg="add mod">
          <ac:chgData name="Jessy Hu" userId="f2d34ac4-8535-4a4b-87f4-a2602f82559e" providerId="ADAL" clId="{3768937E-7146-274F-B1CF-5E05B3741284}" dt="2023-12-06T02:37:45.224" v="179" actId="1076"/>
          <ac:spMkLst>
            <pc:docMk/>
            <pc:sldMk cId="3208453393" sldId="314"/>
            <ac:spMk id="9" creationId="{6DD820CA-A699-8204-67F3-9AB5FB2DBCDF}"/>
          </ac:spMkLst>
        </pc:spChg>
        <pc:spChg chg="add mod">
          <ac:chgData name="Jessy Hu" userId="f2d34ac4-8535-4a4b-87f4-a2602f82559e" providerId="ADAL" clId="{3768937E-7146-274F-B1CF-5E05B3741284}" dt="2023-12-06T02:37:34.441" v="178" actId="20577"/>
          <ac:spMkLst>
            <pc:docMk/>
            <pc:sldMk cId="3208453393" sldId="314"/>
            <ac:spMk id="10" creationId="{37F35E2F-B74E-15E3-255C-EFE337528833}"/>
          </ac:spMkLst>
        </pc:spChg>
      </pc:sldChg>
      <pc:sldChg chg="delSp modSp add mod addCm">
        <pc:chgData name="Jessy Hu" userId="f2d34ac4-8535-4a4b-87f4-a2602f82559e" providerId="ADAL" clId="{3768937E-7146-274F-B1CF-5E05B3741284}" dt="2023-12-06T03:03:34.744" v="420"/>
        <pc:sldMkLst>
          <pc:docMk/>
          <pc:sldMk cId="3438697070" sldId="315"/>
        </pc:sldMkLst>
        <pc:spChg chg="del">
          <ac:chgData name="Jessy Hu" userId="f2d34ac4-8535-4a4b-87f4-a2602f82559e" providerId="ADAL" clId="{3768937E-7146-274F-B1CF-5E05B3741284}" dt="2023-12-06T03:03:05.668" v="419" actId="478"/>
          <ac:spMkLst>
            <pc:docMk/>
            <pc:sldMk cId="3438697070" sldId="315"/>
            <ac:spMk id="10" creationId="{EFE33755-371F-6012-85D2-2D3909A727A4}"/>
          </ac:spMkLst>
        </pc:spChg>
        <pc:spChg chg="del">
          <ac:chgData name="Jessy Hu" userId="f2d34ac4-8535-4a4b-87f4-a2602f82559e" providerId="ADAL" clId="{3768937E-7146-274F-B1CF-5E05B3741284}" dt="2023-12-06T03:03:04.195" v="418" actId="478"/>
          <ac:spMkLst>
            <pc:docMk/>
            <pc:sldMk cId="3438697070" sldId="315"/>
            <ac:spMk id="908" creationId="{00000000-0000-0000-0000-000000000000}"/>
          </ac:spMkLst>
        </pc:spChg>
        <pc:spChg chg="del">
          <ac:chgData name="Jessy Hu" userId="f2d34ac4-8535-4a4b-87f4-a2602f82559e" providerId="ADAL" clId="{3768937E-7146-274F-B1CF-5E05B3741284}" dt="2023-12-06T03:03:04.195" v="418" actId="478"/>
          <ac:spMkLst>
            <pc:docMk/>
            <pc:sldMk cId="3438697070" sldId="315"/>
            <ac:spMk id="914" creationId="{00000000-0000-0000-0000-000000000000}"/>
          </ac:spMkLst>
        </pc:spChg>
        <pc:spChg chg="del">
          <ac:chgData name="Jessy Hu" userId="f2d34ac4-8535-4a4b-87f4-a2602f82559e" providerId="ADAL" clId="{3768937E-7146-274F-B1CF-5E05B3741284}" dt="2023-12-06T03:03:01.572" v="417" actId="478"/>
          <ac:spMkLst>
            <pc:docMk/>
            <pc:sldMk cId="3438697070" sldId="315"/>
            <ac:spMk id="919" creationId="{00000000-0000-0000-0000-000000000000}"/>
          </ac:spMkLst>
        </pc:spChg>
        <pc:spChg chg="del">
          <ac:chgData name="Jessy Hu" userId="f2d34ac4-8535-4a4b-87f4-a2602f82559e" providerId="ADAL" clId="{3768937E-7146-274F-B1CF-5E05B3741284}" dt="2023-12-06T03:03:01.572" v="417" actId="478"/>
          <ac:spMkLst>
            <pc:docMk/>
            <pc:sldMk cId="3438697070" sldId="315"/>
            <ac:spMk id="920" creationId="{00000000-0000-0000-0000-000000000000}"/>
          </ac:spMkLst>
        </pc:spChg>
        <pc:spChg chg="del">
          <ac:chgData name="Jessy Hu" userId="f2d34ac4-8535-4a4b-87f4-a2602f82559e" providerId="ADAL" clId="{3768937E-7146-274F-B1CF-5E05B3741284}" dt="2023-12-06T03:03:01.572" v="417" actId="478"/>
          <ac:spMkLst>
            <pc:docMk/>
            <pc:sldMk cId="3438697070" sldId="315"/>
            <ac:spMk id="922" creationId="{00000000-0000-0000-0000-000000000000}"/>
          </ac:spMkLst>
        </pc:spChg>
        <pc:spChg chg="del">
          <ac:chgData name="Jessy Hu" userId="f2d34ac4-8535-4a4b-87f4-a2602f82559e" providerId="ADAL" clId="{3768937E-7146-274F-B1CF-5E05B3741284}" dt="2023-12-06T03:03:01.572" v="417" actId="478"/>
          <ac:spMkLst>
            <pc:docMk/>
            <pc:sldMk cId="3438697070" sldId="315"/>
            <ac:spMk id="932" creationId="{00000000-0000-0000-0000-000000000000}"/>
          </ac:spMkLst>
        </pc:spChg>
        <pc:spChg chg="mod">
          <ac:chgData name="Jessy Hu" userId="f2d34ac4-8535-4a4b-87f4-a2602f82559e" providerId="ADAL" clId="{3768937E-7146-274F-B1CF-5E05B3741284}" dt="2023-12-06T03:02:57.219" v="416" actId="20577"/>
          <ac:spMkLst>
            <pc:docMk/>
            <pc:sldMk cId="3438697070" sldId="315"/>
            <ac:spMk id="950" creationId="{00000000-0000-0000-0000-000000000000}"/>
          </ac:spMkLst>
        </pc:spChg>
        <pc:grpChg chg="del">
          <ac:chgData name="Jessy Hu" userId="f2d34ac4-8535-4a4b-87f4-a2602f82559e" providerId="ADAL" clId="{3768937E-7146-274F-B1CF-5E05B3741284}" dt="2023-12-06T03:03:01.572" v="417" actId="478"/>
          <ac:grpSpMkLst>
            <pc:docMk/>
            <pc:sldMk cId="3438697070" sldId="315"/>
            <ac:grpSpMk id="927" creationId="{00000000-0000-0000-0000-000000000000}"/>
          </ac:grpSpMkLst>
        </pc:grpChg>
        <pc:grpChg chg="del">
          <ac:chgData name="Jessy Hu" userId="f2d34ac4-8535-4a4b-87f4-a2602f82559e" providerId="ADAL" clId="{3768937E-7146-274F-B1CF-5E05B3741284}" dt="2023-12-06T03:03:01.572" v="417" actId="478"/>
          <ac:grpSpMkLst>
            <pc:docMk/>
            <pc:sldMk cId="3438697070" sldId="315"/>
            <ac:grpSpMk id="933" creationId="{00000000-0000-0000-0000-000000000000}"/>
          </ac:grpSpMkLst>
        </pc:grpChg>
        <pc:cxnChg chg="del mod">
          <ac:chgData name="Jessy Hu" userId="f2d34ac4-8535-4a4b-87f4-a2602f82559e" providerId="ADAL" clId="{3768937E-7146-274F-B1CF-5E05B3741284}" dt="2023-12-06T03:03:01.572" v="417" actId="478"/>
          <ac:cxnSpMkLst>
            <pc:docMk/>
            <pc:sldMk cId="3438697070" sldId="315"/>
            <ac:cxnSpMk id="918" creationId="{00000000-0000-0000-0000-000000000000}"/>
          </ac:cxnSpMkLst>
        </pc:cxnChg>
        <pc:cxnChg chg="del mod">
          <ac:chgData name="Jessy Hu" userId="f2d34ac4-8535-4a4b-87f4-a2602f82559e" providerId="ADAL" clId="{3768937E-7146-274F-B1CF-5E05B3741284}" dt="2023-12-06T03:03:01.572" v="417" actId="478"/>
          <ac:cxnSpMkLst>
            <pc:docMk/>
            <pc:sldMk cId="3438697070" sldId="315"/>
            <ac:cxnSpMk id="921" creationId="{00000000-0000-0000-0000-000000000000}"/>
          </ac:cxnSpMkLst>
        </pc:cxnChg>
      </pc:sldChg>
      <pc:sldChg chg="addSp delSp modSp new mod">
        <pc:chgData name="Jessy Hu" userId="f2d34ac4-8535-4a4b-87f4-a2602f82559e" providerId="ADAL" clId="{3768937E-7146-274F-B1CF-5E05B3741284}" dt="2023-12-06T03:07:33.725" v="544" actId="20577"/>
        <pc:sldMkLst>
          <pc:docMk/>
          <pc:sldMk cId="2309476945" sldId="316"/>
        </pc:sldMkLst>
        <pc:spChg chg="mod">
          <ac:chgData name="Jessy Hu" userId="f2d34ac4-8535-4a4b-87f4-a2602f82559e" providerId="ADAL" clId="{3768937E-7146-274F-B1CF-5E05B3741284}" dt="2023-12-06T03:07:13.907" v="514" actId="20577"/>
          <ac:spMkLst>
            <pc:docMk/>
            <pc:sldMk cId="2309476945" sldId="316"/>
            <ac:spMk id="2" creationId="{F8D21FEE-55BC-A672-E7FA-EC6D037AED66}"/>
          </ac:spMkLst>
        </pc:spChg>
        <pc:spChg chg="del">
          <ac:chgData name="Jessy Hu" userId="f2d34ac4-8535-4a4b-87f4-a2602f82559e" providerId="ADAL" clId="{3768937E-7146-274F-B1CF-5E05B3741284}" dt="2023-12-06T03:05:20.273" v="495" actId="478"/>
          <ac:spMkLst>
            <pc:docMk/>
            <pc:sldMk cId="2309476945" sldId="316"/>
            <ac:spMk id="3" creationId="{A7CAF2E2-8A8A-979F-E5C3-8B63C0215865}"/>
          </ac:spMkLst>
        </pc:spChg>
        <pc:spChg chg="del">
          <ac:chgData name="Jessy Hu" userId="f2d34ac4-8535-4a4b-87f4-a2602f82559e" providerId="ADAL" clId="{3768937E-7146-274F-B1CF-5E05B3741284}" dt="2023-12-06T03:05:21.274" v="496" actId="478"/>
          <ac:spMkLst>
            <pc:docMk/>
            <pc:sldMk cId="2309476945" sldId="316"/>
            <ac:spMk id="4" creationId="{E4CCCB5B-E23A-4F7F-CF1C-FCBCD9EEDBCE}"/>
          </ac:spMkLst>
        </pc:spChg>
        <pc:spChg chg="del">
          <ac:chgData name="Jessy Hu" userId="f2d34ac4-8535-4a4b-87f4-a2602f82559e" providerId="ADAL" clId="{3768937E-7146-274F-B1CF-5E05B3741284}" dt="2023-12-06T03:05:22.510" v="497" actId="478"/>
          <ac:spMkLst>
            <pc:docMk/>
            <pc:sldMk cId="2309476945" sldId="316"/>
            <ac:spMk id="5" creationId="{54AA3B26-2415-F9FF-FAF8-98113AEF8E12}"/>
          </ac:spMkLst>
        </pc:spChg>
        <pc:spChg chg="del">
          <ac:chgData name="Jessy Hu" userId="f2d34ac4-8535-4a4b-87f4-a2602f82559e" providerId="ADAL" clId="{3768937E-7146-274F-B1CF-5E05B3741284}" dt="2023-12-06T03:05:22.510" v="497" actId="478"/>
          <ac:spMkLst>
            <pc:docMk/>
            <pc:sldMk cId="2309476945" sldId="316"/>
            <ac:spMk id="6" creationId="{A8B8EB50-C86A-843A-7B7D-3F3F0229EF98}"/>
          </ac:spMkLst>
        </pc:spChg>
        <pc:spChg chg="add mod">
          <ac:chgData name="Jessy Hu" userId="f2d34ac4-8535-4a4b-87f4-a2602f82559e" providerId="ADAL" clId="{3768937E-7146-274F-B1CF-5E05B3741284}" dt="2023-12-06T03:07:33.725" v="544" actId="20577"/>
          <ac:spMkLst>
            <pc:docMk/>
            <pc:sldMk cId="2309476945" sldId="316"/>
            <ac:spMk id="9" creationId="{3C8F7252-F348-66C1-29AF-9F6D04675222}"/>
          </ac:spMkLst>
        </pc:spChg>
        <pc:picChg chg="add mod">
          <ac:chgData name="Jessy Hu" userId="f2d34ac4-8535-4a4b-87f4-a2602f82559e" providerId="ADAL" clId="{3768937E-7146-274F-B1CF-5E05B3741284}" dt="2023-12-06T03:06:13.788" v="509" actId="1076"/>
          <ac:picMkLst>
            <pc:docMk/>
            <pc:sldMk cId="2309476945" sldId="316"/>
            <ac:picMk id="7" creationId="{0A5B7CC0-04D3-4634-DD68-3F0D978560AE}"/>
          </ac:picMkLst>
        </pc:picChg>
        <pc:picChg chg="add del mod">
          <ac:chgData name="Jessy Hu" userId="f2d34ac4-8535-4a4b-87f4-a2602f82559e" providerId="ADAL" clId="{3768937E-7146-274F-B1CF-5E05B3741284}" dt="2023-12-06T03:07:15.128" v="515" actId="478"/>
          <ac:picMkLst>
            <pc:docMk/>
            <pc:sldMk cId="2309476945" sldId="316"/>
            <ac:picMk id="8" creationId="{B20572E4-BF3B-4F0B-BDC6-465EE51E8B5F}"/>
          </ac:picMkLst>
        </pc:picChg>
      </pc:sldChg>
      <pc:sldChg chg="addSp delSp modSp add mod">
        <pc:chgData name="Jessy Hu" userId="f2d34ac4-8535-4a4b-87f4-a2602f82559e" providerId="ADAL" clId="{3768937E-7146-274F-B1CF-5E05B3741284}" dt="2023-12-06T03:07:39.369" v="546" actId="1076"/>
        <pc:sldMkLst>
          <pc:docMk/>
          <pc:sldMk cId="2636963148" sldId="317"/>
        </pc:sldMkLst>
        <pc:spChg chg="mod">
          <ac:chgData name="Jessy Hu" userId="f2d34ac4-8535-4a4b-87f4-a2602f82559e" providerId="ADAL" clId="{3768937E-7146-274F-B1CF-5E05B3741284}" dt="2023-12-06T03:07:17.836" v="516" actId="20577"/>
          <ac:spMkLst>
            <pc:docMk/>
            <pc:sldMk cId="2636963148" sldId="317"/>
            <ac:spMk id="2" creationId="{F8D21FEE-55BC-A672-E7FA-EC6D037AED66}"/>
          </ac:spMkLst>
        </pc:spChg>
        <pc:spChg chg="add mod">
          <ac:chgData name="Jessy Hu" userId="f2d34ac4-8535-4a4b-87f4-a2602f82559e" providerId="ADAL" clId="{3768937E-7146-274F-B1CF-5E05B3741284}" dt="2023-12-06T03:07:39.369" v="546" actId="1076"/>
          <ac:spMkLst>
            <pc:docMk/>
            <pc:sldMk cId="2636963148" sldId="317"/>
            <ac:spMk id="3" creationId="{0B0E3A0C-C5DD-B57E-407F-3A7E9C870FBD}"/>
          </ac:spMkLst>
        </pc:spChg>
        <pc:picChg chg="del">
          <ac:chgData name="Jessy Hu" userId="f2d34ac4-8535-4a4b-87f4-a2602f82559e" providerId="ADAL" clId="{3768937E-7146-274F-B1CF-5E05B3741284}" dt="2023-12-06T03:07:18.944" v="517" actId="478"/>
          <ac:picMkLst>
            <pc:docMk/>
            <pc:sldMk cId="2636963148" sldId="317"/>
            <ac:picMk id="7" creationId="{0A5B7CC0-04D3-4634-DD68-3F0D978560AE}"/>
          </ac:picMkLst>
        </pc:picChg>
      </pc:sldChg>
      <pc:sldChg chg="modSp mod">
        <pc:chgData name="Jessy Hu" userId="f2d34ac4-8535-4a4b-87f4-a2602f82559e" providerId="ADAL" clId="{3768937E-7146-274F-B1CF-5E05B3741284}" dt="2023-12-08T01:33:07.430" v="5084" actId="20577"/>
        <pc:sldMkLst>
          <pc:docMk/>
          <pc:sldMk cId="1509561868" sldId="318"/>
        </pc:sldMkLst>
        <pc:graphicFrameChg chg="modGraphic">
          <ac:chgData name="Jessy Hu" userId="f2d34ac4-8535-4a4b-87f4-a2602f82559e" providerId="ADAL" clId="{3768937E-7146-274F-B1CF-5E05B3741284}" dt="2023-12-08T01:33:07.430" v="5084" actId="20577"/>
          <ac:graphicFrameMkLst>
            <pc:docMk/>
            <pc:sldMk cId="1509561868" sldId="318"/>
            <ac:graphicFrameMk id="10" creationId="{9A7E940E-5790-1B39-34E9-8ADFA958BD35}"/>
          </ac:graphicFrameMkLst>
        </pc:graphicFrameChg>
      </pc:sldChg>
      <pc:sldChg chg="modSp mod">
        <pc:chgData name="Jessy Hu" userId="f2d34ac4-8535-4a4b-87f4-a2602f82559e" providerId="ADAL" clId="{3768937E-7146-274F-B1CF-5E05B3741284}" dt="2023-12-07T05:05:42.463" v="4273" actId="20577"/>
        <pc:sldMkLst>
          <pc:docMk/>
          <pc:sldMk cId="2257815219" sldId="319"/>
        </pc:sldMkLst>
        <pc:spChg chg="mod">
          <ac:chgData name="Jessy Hu" userId="f2d34ac4-8535-4a4b-87f4-a2602f82559e" providerId="ADAL" clId="{3768937E-7146-274F-B1CF-5E05B3741284}" dt="2023-12-07T05:05:42.463" v="4273" actId="20577"/>
          <ac:spMkLst>
            <pc:docMk/>
            <pc:sldMk cId="2257815219" sldId="319"/>
            <ac:spMk id="835" creationId="{00000000-0000-0000-0000-000000000000}"/>
          </ac:spMkLst>
        </pc:spChg>
      </pc:sldChg>
      <pc:sldChg chg="addSp delSp modSp new mod">
        <pc:chgData name="Jessy Hu" userId="f2d34ac4-8535-4a4b-87f4-a2602f82559e" providerId="ADAL" clId="{3768937E-7146-274F-B1CF-5E05B3741284}" dt="2023-12-06T19:38:30.369" v="645" actId="14100"/>
        <pc:sldMkLst>
          <pc:docMk/>
          <pc:sldMk cId="2982519754" sldId="325"/>
        </pc:sldMkLst>
        <pc:spChg chg="del">
          <ac:chgData name="Jessy Hu" userId="f2d34ac4-8535-4a4b-87f4-a2602f82559e" providerId="ADAL" clId="{3768937E-7146-274F-B1CF-5E05B3741284}" dt="2023-12-06T19:35:04.202" v="582" actId="478"/>
          <ac:spMkLst>
            <pc:docMk/>
            <pc:sldMk cId="2982519754" sldId="325"/>
            <ac:spMk id="2" creationId="{A18EC9D9-9B16-B35A-EB48-8B63A6CD4D4E}"/>
          </ac:spMkLst>
        </pc:spChg>
        <pc:spChg chg="del">
          <ac:chgData name="Jessy Hu" userId="f2d34ac4-8535-4a4b-87f4-a2602f82559e" providerId="ADAL" clId="{3768937E-7146-274F-B1CF-5E05B3741284}" dt="2023-12-06T19:35:03.150" v="581" actId="478"/>
          <ac:spMkLst>
            <pc:docMk/>
            <pc:sldMk cId="2982519754" sldId="325"/>
            <ac:spMk id="3" creationId="{45C25AC1-DB09-1900-80D1-ACACFA0821DD}"/>
          </ac:spMkLst>
        </pc:spChg>
        <pc:spChg chg="del">
          <ac:chgData name="Jessy Hu" userId="f2d34ac4-8535-4a4b-87f4-a2602f82559e" providerId="ADAL" clId="{3768937E-7146-274F-B1CF-5E05B3741284}" dt="2023-12-06T19:35:05.172" v="583" actId="478"/>
          <ac:spMkLst>
            <pc:docMk/>
            <pc:sldMk cId="2982519754" sldId="325"/>
            <ac:spMk id="4" creationId="{99B7AFEE-398B-FD1B-7297-CE8BFFACF1E9}"/>
          </ac:spMkLst>
        </pc:spChg>
        <pc:spChg chg="add mod">
          <ac:chgData name="Jessy Hu" userId="f2d34ac4-8535-4a4b-87f4-a2602f82559e" providerId="ADAL" clId="{3768937E-7146-274F-B1CF-5E05B3741284}" dt="2023-12-06T19:38:30.369" v="645" actId="14100"/>
          <ac:spMkLst>
            <pc:docMk/>
            <pc:sldMk cId="2982519754" sldId="325"/>
            <ac:spMk id="16" creationId="{631C44FC-86B5-EBF7-8B1A-227A6CBF211A}"/>
          </ac:spMkLst>
        </pc:spChg>
        <pc:picChg chg="add mod">
          <ac:chgData name="Jessy Hu" userId="f2d34ac4-8535-4a4b-87f4-a2602f82559e" providerId="ADAL" clId="{3768937E-7146-274F-B1CF-5E05B3741284}" dt="2023-12-06T19:35:08.120" v="586" actId="1076"/>
          <ac:picMkLst>
            <pc:docMk/>
            <pc:sldMk cId="2982519754" sldId="325"/>
            <ac:picMk id="5" creationId="{D8D2D416-9A7B-12F6-DD23-9D183BC6811D}"/>
          </ac:picMkLst>
        </pc:picChg>
        <pc:picChg chg="add del mod">
          <ac:chgData name="Jessy Hu" userId="f2d34ac4-8535-4a4b-87f4-a2602f82559e" providerId="ADAL" clId="{3768937E-7146-274F-B1CF-5E05B3741284}" dt="2023-12-06T19:35:45.975" v="590" actId="478"/>
          <ac:picMkLst>
            <pc:docMk/>
            <pc:sldMk cId="2982519754" sldId="325"/>
            <ac:picMk id="6" creationId="{E0B8A752-4411-12BE-D77E-A255BE3FFAFC}"/>
          </ac:picMkLst>
        </pc:picChg>
        <pc:picChg chg="add mod">
          <ac:chgData name="Jessy Hu" userId="f2d34ac4-8535-4a4b-87f4-a2602f82559e" providerId="ADAL" clId="{3768937E-7146-274F-B1CF-5E05B3741284}" dt="2023-12-06T19:36:09.995" v="593" actId="1076"/>
          <ac:picMkLst>
            <pc:docMk/>
            <pc:sldMk cId="2982519754" sldId="325"/>
            <ac:picMk id="7" creationId="{DDFB798E-1FF3-6985-F9F8-2BD99DCA47E8}"/>
          </ac:picMkLst>
        </pc:picChg>
        <pc:picChg chg="add mod">
          <ac:chgData name="Jessy Hu" userId="f2d34ac4-8535-4a4b-87f4-a2602f82559e" providerId="ADAL" clId="{3768937E-7146-274F-B1CF-5E05B3741284}" dt="2023-12-06T19:36:26.449" v="596" actId="1076"/>
          <ac:picMkLst>
            <pc:docMk/>
            <pc:sldMk cId="2982519754" sldId="325"/>
            <ac:picMk id="8" creationId="{A93759F4-B1E8-3DB3-11FB-1FE654484917}"/>
          </ac:picMkLst>
        </pc:picChg>
        <pc:picChg chg="add mod">
          <ac:chgData name="Jessy Hu" userId="f2d34ac4-8535-4a4b-87f4-a2602f82559e" providerId="ADAL" clId="{3768937E-7146-274F-B1CF-5E05B3741284}" dt="2023-12-06T19:36:37.033" v="599" actId="1076"/>
          <ac:picMkLst>
            <pc:docMk/>
            <pc:sldMk cId="2982519754" sldId="325"/>
            <ac:picMk id="9" creationId="{6105BB65-E0F1-1BD6-38E4-C86B725361C2}"/>
          </ac:picMkLst>
        </pc:picChg>
        <pc:picChg chg="add mod">
          <ac:chgData name="Jessy Hu" userId="f2d34ac4-8535-4a4b-87f4-a2602f82559e" providerId="ADAL" clId="{3768937E-7146-274F-B1CF-5E05B3741284}" dt="2023-12-06T19:36:49.432" v="602" actId="1076"/>
          <ac:picMkLst>
            <pc:docMk/>
            <pc:sldMk cId="2982519754" sldId="325"/>
            <ac:picMk id="10" creationId="{5C7B5AAE-268F-6C4D-75F5-8D96A7EBB6A9}"/>
          </ac:picMkLst>
        </pc:picChg>
        <pc:picChg chg="add mod">
          <ac:chgData name="Jessy Hu" userId="f2d34ac4-8535-4a4b-87f4-a2602f82559e" providerId="ADAL" clId="{3768937E-7146-274F-B1CF-5E05B3741284}" dt="2023-12-06T19:37:06.431" v="605" actId="1076"/>
          <ac:picMkLst>
            <pc:docMk/>
            <pc:sldMk cId="2982519754" sldId="325"/>
            <ac:picMk id="11" creationId="{EA1687B2-EA77-44AD-CC5F-CFE2363F51DE}"/>
          </ac:picMkLst>
        </pc:picChg>
        <pc:picChg chg="add mod">
          <ac:chgData name="Jessy Hu" userId="f2d34ac4-8535-4a4b-87f4-a2602f82559e" providerId="ADAL" clId="{3768937E-7146-274F-B1CF-5E05B3741284}" dt="2023-12-06T19:37:18.693" v="608" actId="1076"/>
          <ac:picMkLst>
            <pc:docMk/>
            <pc:sldMk cId="2982519754" sldId="325"/>
            <ac:picMk id="12" creationId="{0C05F6D8-B77F-2F8D-8C9A-3305A556D2E0}"/>
          </ac:picMkLst>
        </pc:picChg>
        <pc:picChg chg="add mod">
          <ac:chgData name="Jessy Hu" userId="f2d34ac4-8535-4a4b-87f4-a2602f82559e" providerId="ADAL" clId="{3768937E-7146-274F-B1CF-5E05B3741284}" dt="2023-12-06T19:37:29.471" v="611" actId="1076"/>
          <ac:picMkLst>
            <pc:docMk/>
            <pc:sldMk cId="2982519754" sldId="325"/>
            <ac:picMk id="13" creationId="{F2E57421-9B92-DBB2-AD3E-8E0817CED134}"/>
          </ac:picMkLst>
        </pc:picChg>
        <pc:picChg chg="add del mod">
          <ac:chgData name="Jessy Hu" userId="f2d34ac4-8535-4a4b-87f4-a2602f82559e" providerId="ADAL" clId="{3768937E-7146-274F-B1CF-5E05B3741284}" dt="2023-12-06T19:38:02.791" v="620" actId="21"/>
          <ac:picMkLst>
            <pc:docMk/>
            <pc:sldMk cId="2982519754" sldId="325"/>
            <ac:picMk id="14" creationId="{8DEE3339-68AC-B04E-3ED8-8BF1C5499074}"/>
          </ac:picMkLst>
        </pc:picChg>
        <pc:picChg chg="add del mod">
          <ac:chgData name="Jessy Hu" userId="f2d34ac4-8535-4a4b-87f4-a2602f82559e" providerId="ADAL" clId="{3768937E-7146-274F-B1CF-5E05B3741284}" dt="2023-12-06T19:37:58.931" v="618" actId="21"/>
          <ac:picMkLst>
            <pc:docMk/>
            <pc:sldMk cId="2982519754" sldId="325"/>
            <ac:picMk id="15" creationId="{2E35FD8A-B851-0E42-EBB3-C81377A58692}"/>
          </ac:picMkLst>
        </pc:picChg>
      </pc:sldChg>
      <pc:sldChg chg="addSp modSp del mod">
        <pc:chgData name="Jessy Hu" userId="f2d34ac4-8535-4a4b-87f4-a2602f82559e" providerId="ADAL" clId="{3768937E-7146-274F-B1CF-5E05B3741284}" dt="2023-12-06T23:29:25.523" v="4264" actId="2696"/>
        <pc:sldMkLst>
          <pc:docMk/>
          <pc:sldMk cId="2044416193" sldId="326"/>
        </pc:sldMkLst>
        <pc:spChg chg="add mod">
          <ac:chgData name="Jessy Hu" userId="f2d34ac4-8535-4a4b-87f4-a2602f82559e" providerId="ADAL" clId="{3768937E-7146-274F-B1CF-5E05B3741284}" dt="2023-12-06T19:38:51.058" v="707" actId="20577"/>
          <ac:spMkLst>
            <pc:docMk/>
            <pc:sldMk cId="2044416193" sldId="326"/>
            <ac:spMk id="5" creationId="{A53B652B-06EB-7A49-573B-EDD01E239D64}"/>
          </ac:spMkLst>
        </pc:spChg>
        <pc:picChg chg="add mod">
          <ac:chgData name="Jessy Hu" userId="f2d34ac4-8535-4a4b-87f4-a2602f82559e" providerId="ADAL" clId="{3768937E-7146-274F-B1CF-5E05B3741284}" dt="2023-12-06T19:38:00.245" v="619"/>
          <ac:picMkLst>
            <pc:docMk/>
            <pc:sldMk cId="2044416193" sldId="326"/>
            <ac:picMk id="2" creationId="{DA6C464E-3EF0-D3C9-925D-43DE6FD1A1F2}"/>
          </ac:picMkLst>
        </pc:picChg>
        <pc:picChg chg="add mod">
          <ac:chgData name="Jessy Hu" userId="f2d34ac4-8535-4a4b-87f4-a2602f82559e" providerId="ADAL" clId="{3768937E-7146-274F-B1CF-5E05B3741284}" dt="2023-12-06T19:38:04.553" v="622" actId="1076"/>
          <ac:picMkLst>
            <pc:docMk/>
            <pc:sldMk cId="2044416193" sldId="326"/>
            <ac:picMk id="3" creationId="{E0916F40-3AAF-CA5F-EE01-5B16F0146AEF}"/>
          </ac:picMkLst>
        </pc:picChg>
        <pc:picChg chg="add mod">
          <ac:chgData name="Jessy Hu" userId="f2d34ac4-8535-4a4b-87f4-a2602f82559e" providerId="ADAL" clId="{3768937E-7146-274F-B1CF-5E05B3741284}" dt="2023-12-06T19:38:13.057" v="625" actId="1076"/>
          <ac:picMkLst>
            <pc:docMk/>
            <pc:sldMk cId="2044416193" sldId="326"/>
            <ac:picMk id="4" creationId="{AFFFF317-0F4D-4FE0-3F94-053794F3F3E5}"/>
          </ac:picMkLst>
        </pc:picChg>
      </pc:sldChg>
      <pc:sldChg chg="addSp delSp modSp mod">
        <pc:chgData name="Jessy Hu" userId="f2d34ac4-8535-4a4b-87f4-a2602f82559e" providerId="ADAL" clId="{3768937E-7146-274F-B1CF-5E05B3741284}" dt="2023-12-08T00:13:45.213" v="4887" actId="20577"/>
        <pc:sldMkLst>
          <pc:docMk/>
          <pc:sldMk cId="367704382" sldId="334"/>
        </pc:sldMkLst>
        <pc:spChg chg="del">
          <ac:chgData name="Jessy Hu" userId="f2d34ac4-8535-4a4b-87f4-a2602f82559e" providerId="ADAL" clId="{3768937E-7146-274F-B1CF-5E05B3741284}" dt="2023-12-08T00:13:03.398" v="4763" actId="478"/>
          <ac:spMkLst>
            <pc:docMk/>
            <pc:sldMk cId="367704382" sldId="334"/>
            <ac:spMk id="2" creationId="{0F7CA20B-EE26-EF48-E09B-01B689A18E0E}"/>
          </ac:spMkLst>
        </pc:spChg>
        <pc:spChg chg="del">
          <ac:chgData name="Jessy Hu" userId="f2d34ac4-8535-4a4b-87f4-a2602f82559e" providerId="ADAL" clId="{3768937E-7146-274F-B1CF-5E05B3741284}" dt="2023-12-08T00:12:58.339" v="4762" actId="478"/>
          <ac:spMkLst>
            <pc:docMk/>
            <pc:sldMk cId="367704382" sldId="334"/>
            <ac:spMk id="3" creationId="{CB0ECC61-F03D-99DD-43EB-DE02626D2EA0}"/>
          </ac:spMkLst>
        </pc:spChg>
        <pc:spChg chg="del">
          <ac:chgData name="Jessy Hu" userId="f2d34ac4-8535-4a4b-87f4-a2602f82559e" providerId="ADAL" clId="{3768937E-7146-274F-B1CF-5E05B3741284}" dt="2023-12-08T00:13:04.940" v="4764" actId="478"/>
          <ac:spMkLst>
            <pc:docMk/>
            <pc:sldMk cId="367704382" sldId="334"/>
            <ac:spMk id="4" creationId="{3E33330A-97FC-25CB-F3D6-47E17368CF14}"/>
          </ac:spMkLst>
        </pc:spChg>
        <pc:spChg chg="add mod">
          <ac:chgData name="Jessy Hu" userId="f2d34ac4-8535-4a4b-87f4-a2602f82559e" providerId="ADAL" clId="{3768937E-7146-274F-B1CF-5E05B3741284}" dt="2023-12-08T00:13:45.213" v="4887" actId="20577"/>
          <ac:spMkLst>
            <pc:docMk/>
            <pc:sldMk cId="367704382" sldId="334"/>
            <ac:spMk id="5" creationId="{A798E6D5-20CF-1F11-2DAD-7C1D94B1B460}"/>
          </ac:spMkLst>
        </pc:spChg>
        <pc:picChg chg="mod">
          <ac:chgData name="Jessy Hu" userId="f2d34ac4-8535-4a4b-87f4-a2602f82559e" providerId="ADAL" clId="{3768937E-7146-274F-B1CF-5E05B3741284}" dt="2023-12-08T00:12:55.863" v="4761" actId="14100"/>
          <ac:picMkLst>
            <pc:docMk/>
            <pc:sldMk cId="367704382" sldId="334"/>
            <ac:picMk id="3074" creationId="{91D2DBC8-0CD4-B969-5568-3874E9AABFAB}"/>
          </ac:picMkLst>
        </pc:picChg>
      </pc:sldChg>
      <pc:sldChg chg="mod modShow">
        <pc:chgData name="Jessy Hu" userId="f2d34ac4-8535-4a4b-87f4-a2602f82559e" providerId="ADAL" clId="{3768937E-7146-274F-B1CF-5E05B3741284}" dt="2023-12-08T01:14:15.806" v="5077" actId="729"/>
        <pc:sldMkLst>
          <pc:docMk/>
          <pc:sldMk cId="350607174" sldId="335"/>
        </pc:sldMkLst>
      </pc:sldChg>
      <pc:sldChg chg="new">
        <pc:chgData name="Jessy Hu" userId="f2d34ac4-8535-4a4b-87f4-a2602f82559e" providerId="ADAL" clId="{3768937E-7146-274F-B1CF-5E05B3741284}" dt="2023-12-06T21:01:45.579" v="729" actId="680"/>
        <pc:sldMkLst>
          <pc:docMk/>
          <pc:sldMk cId="2506370649" sldId="337"/>
        </pc:sldMkLst>
      </pc:sldChg>
      <pc:sldChg chg="addSp delSp modSp new mod modNotesTx">
        <pc:chgData name="Jessy Hu" userId="f2d34ac4-8535-4a4b-87f4-a2602f82559e" providerId="ADAL" clId="{3768937E-7146-274F-B1CF-5E05B3741284}" dt="2023-12-08T23:26:32.587" v="5202" actId="20577"/>
        <pc:sldMkLst>
          <pc:docMk/>
          <pc:sldMk cId="793417744" sldId="338"/>
        </pc:sldMkLst>
        <pc:spChg chg="del">
          <ac:chgData name="Jessy Hu" userId="f2d34ac4-8535-4a4b-87f4-a2602f82559e" providerId="ADAL" clId="{3768937E-7146-274F-B1CF-5E05B3741284}" dt="2023-12-06T21:06:19.849" v="734" actId="478"/>
          <ac:spMkLst>
            <pc:docMk/>
            <pc:sldMk cId="793417744" sldId="338"/>
            <ac:spMk id="2" creationId="{DA2B093D-32A9-DE21-8D58-54AB0D363B7A}"/>
          </ac:spMkLst>
        </pc:spChg>
        <pc:spChg chg="del">
          <ac:chgData name="Jessy Hu" userId="f2d34ac4-8535-4a4b-87f4-a2602f82559e" providerId="ADAL" clId="{3768937E-7146-274F-B1CF-5E05B3741284}" dt="2023-12-06T21:06:17.233" v="733" actId="478"/>
          <ac:spMkLst>
            <pc:docMk/>
            <pc:sldMk cId="793417744" sldId="338"/>
            <ac:spMk id="3" creationId="{5F399418-762A-F46F-6628-C865FDC7D20F}"/>
          </ac:spMkLst>
        </pc:spChg>
        <pc:spChg chg="del">
          <ac:chgData name="Jessy Hu" userId="f2d34ac4-8535-4a4b-87f4-a2602f82559e" providerId="ADAL" clId="{3768937E-7146-274F-B1CF-5E05B3741284}" dt="2023-12-06T21:06:20.750" v="735" actId="478"/>
          <ac:spMkLst>
            <pc:docMk/>
            <pc:sldMk cId="793417744" sldId="338"/>
            <ac:spMk id="4" creationId="{767F2583-75CF-9329-5B50-E7FE6AF0757C}"/>
          </ac:spMkLst>
        </pc:spChg>
        <pc:spChg chg="add mod">
          <ac:chgData name="Jessy Hu" userId="f2d34ac4-8535-4a4b-87f4-a2602f82559e" providerId="ADAL" clId="{3768937E-7146-274F-B1CF-5E05B3741284}" dt="2023-12-06T23:23:34.435" v="4186" actId="1076"/>
          <ac:spMkLst>
            <pc:docMk/>
            <pc:sldMk cId="793417744" sldId="338"/>
            <ac:spMk id="13" creationId="{7715ACD5-CC6E-0128-E05F-32A80B4E06A4}"/>
          </ac:spMkLst>
        </pc:spChg>
        <pc:spChg chg="add del mod">
          <ac:chgData name="Jessy Hu" userId="f2d34ac4-8535-4a4b-87f4-a2602f82559e" providerId="ADAL" clId="{3768937E-7146-274F-B1CF-5E05B3741284}" dt="2023-12-06T21:27:24.236" v="1355" actId="21"/>
          <ac:spMkLst>
            <pc:docMk/>
            <pc:sldMk cId="793417744" sldId="338"/>
            <ac:spMk id="14" creationId="{C5AB0208-0984-C9C7-0606-3FADBF61BEE1}"/>
          </ac:spMkLst>
        </pc:spChg>
        <pc:spChg chg="add del mod">
          <ac:chgData name="Jessy Hu" userId="f2d34ac4-8535-4a4b-87f4-a2602f82559e" providerId="ADAL" clId="{3768937E-7146-274F-B1CF-5E05B3741284}" dt="2023-12-06T21:27:27.946" v="1357" actId="21"/>
          <ac:spMkLst>
            <pc:docMk/>
            <pc:sldMk cId="793417744" sldId="338"/>
            <ac:spMk id="15" creationId="{333CCD9C-7645-C329-0669-BB5C523EC0F7}"/>
          </ac:spMkLst>
        </pc:spChg>
        <pc:spChg chg="add del mod">
          <ac:chgData name="Jessy Hu" userId="f2d34ac4-8535-4a4b-87f4-a2602f82559e" providerId="ADAL" clId="{3768937E-7146-274F-B1CF-5E05B3741284}" dt="2023-12-06T21:25:05.966" v="1330" actId="478"/>
          <ac:spMkLst>
            <pc:docMk/>
            <pc:sldMk cId="793417744" sldId="338"/>
            <ac:spMk id="16" creationId="{900FB60C-FDF1-69B3-37D0-BC5D01AFE972}"/>
          </ac:spMkLst>
        </pc:spChg>
        <pc:spChg chg="add del mod">
          <ac:chgData name="Jessy Hu" userId="f2d34ac4-8535-4a4b-87f4-a2602f82559e" providerId="ADAL" clId="{3768937E-7146-274F-B1CF-5E05B3741284}" dt="2023-12-06T21:25:08.462" v="1332" actId="478"/>
          <ac:spMkLst>
            <pc:docMk/>
            <pc:sldMk cId="793417744" sldId="338"/>
            <ac:spMk id="17" creationId="{A26D9307-48DA-EBC5-59AB-D495BEF366D3}"/>
          </ac:spMkLst>
        </pc:spChg>
        <pc:spChg chg="add del mod">
          <ac:chgData name="Jessy Hu" userId="f2d34ac4-8535-4a4b-87f4-a2602f82559e" providerId="ADAL" clId="{3768937E-7146-274F-B1CF-5E05B3741284}" dt="2023-12-06T21:25:07.315" v="1331" actId="478"/>
          <ac:spMkLst>
            <pc:docMk/>
            <pc:sldMk cId="793417744" sldId="338"/>
            <ac:spMk id="18" creationId="{9456BF29-2584-E5AA-E73D-27CFF7C4CEC0}"/>
          </ac:spMkLst>
        </pc:spChg>
        <pc:spChg chg="add del mod">
          <ac:chgData name="Jessy Hu" userId="f2d34ac4-8535-4a4b-87f4-a2602f82559e" providerId="ADAL" clId="{3768937E-7146-274F-B1CF-5E05B3741284}" dt="2023-12-06T21:25:09.572" v="1333" actId="478"/>
          <ac:spMkLst>
            <pc:docMk/>
            <pc:sldMk cId="793417744" sldId="338"/>
            <ac:spMk id="19" creationId="{66421C89-A92B-2DF3-43D9-3B75907766D9}"/>
          </ac:spMkLst>
        </pc:spChg>
        <pc:spChg chg="add mod">
          <ac:chgData name="Jessy Hu" userId="f2d34ac4-8535-4a4b-87f4-a2602f82559e" providerId="ADAL" clId="{3768937E-7146-274F-B1CF-5E05B3741284}" dt="2023-12-06T21:45:57.273" v="1757" actId="1076"/>
          <ac:spMkLst>
            <pc:docMk/>
            <pc:sldMk cId="793417744" sldId="338"/>
            <ac:spMk id="20" creationId="{C8199E1C-7530-9E7B-C2DF-9BD026C16D73}"/>
          </ac:spMkLst>
        </pc:spChg>
        <pc:spChg chg="add mod">
          <ac:chgData name="Jessy Hu" userId="f2d34ac4-8535-4a4b-87f4-a2602f82559e" providerId="ADAL" clId="{3768937E-7146-274F-B1CF-5E05B3741284}" dt="2023-12-06T21:46:54.633" v="1767" actId="1076"/>
          <ac:spMkLst>
            <pc:docMk/>
            <pc:sldMk cId="793417744" sldId="338"/>
            <ac:spMk id="21" creationId="{738BAF35-02E5-14B2-4804-21CB001BE7CE}"/>
          </ac:spMkLst>
        </pc:spChg>
        <pc:spChg chg="add mod">
          <ac:chgData name="Jessy Hu" userId="f2d34ac4-8535-4a4b-87f4-a2602f82559e" providerId="ADAL" clId="{3768937E-7146-274F-B1CF-5E05B3741284}" dt="2023-12-06T21:45:57.273" v="1757" actId="1076"/>
          <ac:spMkLst>
            <pc:docMk/>
            <pc:sldMk cId="793417744" sldId="338"/>
            <ac:spMk id="22" creationId="{1A1F7654-C841-30F3-0D65-A12497BD254A}"/>
          </ac:spMkLst>
        </pc:spChg>
        <pc:spChg chg="add mod">
          <ac:chgData name="Jessy Hu" userId="f2d34ac4-8535-4a4b-87f4-a2602f82559e" providerId="ADAL" clId="{3768937E-7146-274F-B1CF-5E05B3741284}" dt="2023-12-06T21:45:57.273" v="1757" actId="1076"/>
          <ac:spMkLst>
            <pc:docMk/>
            <pc:sldMk cId="793417744" sldId="338"/>
            <ac:spMk id="23" creationId="{365A6EDF-2419-6C95-956A-BAA3927B0607}"/>
          </ac:spMkLst>
        </pc:spChg>
        <pc:spChg chg="mod">
          <ac:chgData name="Jessy Hu" userId="f2d34ac4-8535-4a4b-87f4-a2602f82559e" providerId="ADAL" clId="{3768937E-7146-274F-B1CF-5E05B3741284}" dt="2023-12-06T21:23:24.399" v="1301"/>
          <ac:spMkLst>
            <pc:docMk/>
            <pc:sldMk cId="793417744" sldId="338"/>
            <ac:spMk id="31" creationId="{EFE379CD-498B-964E-A023-203EB543584A}"/>
          </ac:spMkLst>
        </pc:spChg>
        <pc:spChg chg="mod">
          <ac:chgData name="Jessy Hu" userId="f2d34ac4-8535-4a4b-87f4-a2602f82559e" providerId="ADAL" clId="{3768937E-7146-274F-B1CF-5E05B3741284}" dt="2023-12-06T21:23:24.399" v="1301"/>
          <ac:spMkLst>
            <pc:docMk/>
            <pc:sldMk cId="793417744" sldId="338"/>
            <ac:spMk id="32" creationId="{878144AB-B044-24E9-D2E9-F8E1AC98FFFA}"/>
          </ac:spMkLst>
        </pc:spChg>
        <pc:spChg chg="mod">
          <ac:chgData name="Jessy Hu" userId="f2d34ac4-8535-4a4b-87f4-a2602f82559e" providerId="ADAL" clId="{3768937E-7146-274F-B1CF-5E05B3741284}" dt="2023-12-06T21:23:24.399" v="1301"/>
          <ac:spMkLst>
            <pc:docMk/>
            <pc:sldMk cId="793417744" sldId="338"/>
            <ac:spMk id="33" creationId="{ED6173B5-D677-F20D-2BA6-D9B73D9F5CF0}"/>
          </ac:spMkLst>
        </pc:spChg>
        <pc:spChg chg="mod">
          <ac:chgData name="Jessy Hu" userId="f2d34ac4-8535-4a4b-87f4-a2602f82559e" providerId="ADAL" clId="{3768937E-7146-274F-B1CF-5E05B3741284}" dt="2023-12-06T21:23:24.399" v="1301"/>
          <ac:spMkLst>
            <pc:docMk/>
            <pc:sldMk cId="793417744" sldId="338"/>
            <ac:spMk id="34" creationId="{1373FAB8-9E33-D10C-8B38-6DDA1FC9C753}"/>
          </ac:spMkLst>
        </pc:spChg>
        <pc:spChg chg="mod">
          <ac:chgData name="Jessy Hu" userId="f2d34ac4-8535-4a4b-87f4-a2602f82559e" providerId="ADAL" clId="{3768937E-7146-274F-B1CF-5E05B3741284}" dt="2023-12-06T21:23:24.399" v="1301"/>
          <ac:spMkLst>
            <pc:docMk/>
            <pc:sldMk cId="793417744" sldId="338"/>
            <ac:spMk id="35" creationId="{8CE85088-0805-7DEC-6C9A-3AD9BC1EA0AF}"/>
          </ac:spMkLst>
        </pc:spChg>
        <pc:spChg chg="mod">
          <ac:chgData name="Jessy Hu" userId="f2d34ac4-8535-4a4b-87f4-a2602f82559e" providerId="ADAL" clId="{3768937E-7146-274F-B1CF-5E05B3741284}" dt="2023-12-06T21:23:24.399" v="1301"/>
          <ac:spMkLst>
            <pc:docMk/>
            <pc:sldMk cId="793417744" sldId="338"/>
            <ac:spMk id="36" creationId="{DCABB2F5-B194-6058-EBD1-6DE68DA90143}"/>
          </ac:spMkLst>
        </pc:spChg>
        <pc:spChg chg="mod">
          <ac:chgData name="Jessy Hu" userId="f2d34ac4-8535-4a4b-87f4-a2602f82559e" providerId="ADAL" clId="{3768937E-7146-274F-B1CF-5E05B3741284}" dt="2023-12-06T21:23:24.399" v="1301"/>
          <ac:spMkLst>
            <pc:docMk/>
            <pc:sldMk cId="793417744" sldId="338"/>
            <ac:spMk id="37" creationId="{3514D001-8E47-2CF4-A475-A734BF018F8D}"/>
          </ac:spMkLst>
        </pc:spChg>
        <pc:spChg chg="mod">
          <ac:chgData name="Jessy Hu" userId="f2d34ac4-8535-4a4b-87f4-a2602f82559e" providerId="ADAL" clId="{3768937E-7146-274F-B1CF-5E05B3741284}" dt="2023-12-06T21:23:24.399" v="1301"/>
          <ac:spMkLst>
            <pc:docMk/>
            <pc:sldMk cId="793417744" sldId="338"/>
            <ac:spMk id="38" creationId="{7EC15A38-4A86-BCE6-8608-69FCF06CD7D0}"/>
          </ac:spMkLst>
        </pc:spChg>
        <pc:spChg chg="mod">
          <ac:chgData name="Jessy Hu" userId="f2d34ac4-8535-4a4b-87f4-a2602f82559e" providerId="ADAL" clId="{3768937E-7146-274F-B1CF-5E05B3741284}" dt="2023-12-06T21:23:24.399" v="1301"/>
          <ac:spMkLst>
            <pc:docMk/>
            <pc:sldMk cId="793417744" sldId="338"/>
            <ac:spMk id="39" creationId="{E5671191-1DA0-A9D5-8515-B65868D66102}"/>
          </ac:spMkLst>
        </pc:spChg>
        <pc:spChg chg="mod">
          <ac:chgData name="Jessy Hu" userId="f2d34ac4-8535-4a4b-87f4-a2602f82559e" providerId="ADAL" clId="{3768937E-7146-274F-B1CF-5E05B3741284}" dt="2023-12-06T21:23:24.399" v="1301"/>
          <ac:spMkLst>
            <pc:docMk/>
            <pc:sldMk cId="793417744" sldId="338"/>
            <ac:spMk id="40" creationId="{D3BF8AD7-69B5-EAEE-91B7-0F9908FC5897}"/>
          </ac:spMkLst>
        </pc:spChg>
        <pc:spChg chg="mod">
          <ac:chgData name="Jessy Hu" userId="f2d34ac4-8535-4a4b-87f4-a2602f82559e" providerId="ADAL" clId="{3768937E-7146-274F-B1CF-5E05B3741284}" dt="2023-12-06T21:23:24.399" v="1301"/>
          <ac:spMkLst>
            <pc:docMk/>
            <pc:sldMk cId="793417744" sldId="338"/>
            <ac:spMk id="41" creationId="{55253077-39D4-E5B9-1EF7-00B95F787046}"/>
          </ac:spMkLst>
        </pc:spChg>
        <pc:spChg chg="mod">
          <ac:chgData name="Jessy Hu" userId="f2d34ac4-8535-4a4b-87f4-a2602f82559e" providerId="ADAL" clId="{3768937E-7146-274F-B1CF-5E05B3741284}" dt="2023-12-06T21:23:24.399" v="1301"/>
          <ac:spMkLst>
            <pc:docMk/>
            <pc:sldMk cId="793417744" sldId="338"/>
            <ac:spMk id="42" creationId="{94340F69-9901-83BC-9AAC-6A6EEB197DE0}"/>
          </ac:spMkLst>
        </pc:spChg>
        <pc:spChg chg="mod">
          <ac:chgData name="Jessy Hu" userId="f2d34ac4-8535-4a4b-87f4-a2602f82559e" providerId="ADAL" clId="{3768937E-7146-274F-B1CF-5E05B3741284}" dt="2023-12-06T21:23:24.399" v="1301"/>
          <ac:spMkLst>
            <pc:docMk/>
            <pc:sldMk cId="793417744" sldId="338"/>
            <ac:spMk id="43" creationId="{716F94D6-4677-23D6-5BD5-11F58EFABB60}"/>
          </ac:spMkLst>
        </pc:spChg>
        <pc:spChg chg="mod">
          <ac:chgData name="Jessy Hu" userId="f2d34ac4-8535-4a4b-87f4-a2602f82559e" providerId="ADAL" clId="{3768937E-7146-274F-B1CF-5E05B3741284}" dt="2023-12-06T21:23:24.399" v="1301"/>
          <ac:spMkLst>
            <pc:docMk/>
            <pc:sldMk cId="793417744" sldId="338"/>
            <ac:spMk id="44" creationId="{CE57536D-FE96-0BA2-6D36-8E98E0D1F471}"/>
          </ac:spMkLst>
        </pc:spChg>
        <pc:spChg chg="mod">
          <ac:chgData name="Jessy Hu" userId="f2d34ac4-8535-4a4b-87f4-a2602f82559e" providerId="ADAL" clId="{3768937E-7146-274F-B1CF-5E05B3741284}" dt="2023-12-06T21:23:24.399" v="1301"/>
          <ac:spMkLst>
            <pc:docMk/>
            <pc:sldMk cId="793417744" sldId="338"/>
            <ac:spMk id="45" creationId="{F0B74971-B827-1D58-B681-C03C2E24139B}"/>
          </ac:spMkLst>
        </pc:spChg>
        <pc:spChg chg="mod">
          <ac:chgData name="Jessy Hu" userId="f2d34ac4-8535-4a4b-87f4-a2602f82559e" providerId="ADAL" clId="{3768937E-7146-274F-B1CF-5E05B3741284}" dt="2023-12-06T21:23:24.399" v="1301"/>
          <ac:spMkLst>
            <pc:docMk/>
            <pc:sldMk cId="793417744" sldId="338"/>
            <ac:spMk id="46" creationId="{6A456F55-D58C-565C-12A6-4F66199855C8}"/>
          </ac:spMkLst>
        </pc:spChg>
        <pc:spChg chg="mod">
          <ac:chgData name="Jessy Hu" userId="f2d34ac4-8535-4a4b-87f4-a2602f82559e" providerId="ADAL" clId="{3768937E-7146-274F-B1CF-5E05B3741284}" dt="2023-12-06T21:23:24.399" v="1301"/>
          <ac:spMkLst>
            <pc:docMk/>
            <pc:sldMk cId="793417744" sldId="338"/>
            <ac:spMk id="47" creationId="{7CDCDE13-BD68-5A3E-B4D7-6152672FCE5C}"/>
          </ac:spMkLst>
        </pc:spChg>
        <pc:spChg chg="add mod">
          <ac:chgData name="Jessy Hu" userId="f2d34ac4-8535-4a4b-87f4-a2602f82559e" providerId="ADAL" clId="{3768937E-7146-274F-B1CF-5E05B3741284}" dt="2023-12-06T21:46:25.862" v="1764" actId="1076"/>
          <ac:spMkLst>
            <pc:docMk/>
            <pc:sldMk cId="793417744" sldId="338"/>
            <ac:spMk id="102" creationId="{226C5EED-22AF-952D-D8FA-83B9255E7DDE}"/>
          </ac:spMkLst>
        </pc:spChg>
        <pc:spChg chg="add mod">
          <ac:chgData name="Jessy Hu" userId="f2d34ac4-8535-4a4b-87f4-a2602f82559e" providerId="ADAL" clId="{3768937E-7146-274F-B1CF-5E05B3741284}" dt="2023-12-06T21:46:34.441" v="1766" actId="1076"/>
          <ac:spMkLst>
            <pc:docMk/>
            <pc:sldMk cId="793417744" sldId="338"/>
            <ac:spMk id="103" creationId="{9D39AB8D-E2CF-FFEB-E9B0-CBCB9826001E}"/>
          </ac:spMkLst>
        </pc:spChg>
        <pc:spChg chg="add mod">
          <ac:chgData name="Jessy Hu" userId="f2d34ac4-8535-4a4b-87f4-a2602f82559e" providerId="ADAL" clId="{3768937E-7146-274F-B1CF-5E05B3741284}" dt="2023-12-06T21:46:18.196" v="1762" actId="1076"/>
          <ac:spMkLst>
            <pc:docMk/>
            <pc:sldMk cId="793417744" sldId="338"/>
            <ac:spMk id="104" creationId="{ADB5F452-2AF0-93BD-4FC7-3F4B5F6069A1}"/>
          </ac:spMkLst>
        </pc:spChg>
        <pc:spChg chg="add mod">
          <ac:chgData name="Jessy Hu" userId="f2d34ac4-8535-4a4b-87f4-a2602f82559e" providerId="ADAL" clId="{3768937E-7146-274F-B1CF-5E05B3741284}" dt="2023-12-07T06:09:33.376" v="4736" actId="12"/>
          <ac:spMkLst>
            <pc:docMk/>
            <pc:sldMk cId="793417744" sldId="338"/>
            <ac:spMk id="105" creationId="{D1DB1647-F93C-69F5-4B50-A78A6C75DC40}"/>
          </ac:spMkLst>
        </pc:spChg>
        <pc:grpChg chg="add del mod">
          <ac:chgData name="Jessy Hu" userId="f2d34ac4-8535-4a4b-87f4-a2602f82559e" providerId="ADAL" clId="{3768937E-7146-274F-B1CF-5E05B3741284}" dt="2023-12-06T21:29:51.764" v="1438" actId="478"/>
          <ac:grpSpMkLst>
            <pc:docMk/>
            <pc:sldMk cId="793417744" sldId="338"/>
            <ac:grpSpMk id="30" creationId="{64AD42DF-6034-DB2C-F996-5B9942452265}"/>
          </ac:grpSpMkLst>
        </pc:grpChg>
        <pc:graphicFrameChg chg="add del mod modGraphic">
          <ac:chgData name="Jessy Hu" userId="f2d34ac4-8535-4a4b-87f4-a2602f82559e" providerId="ADAL" clId="{3768937E-7146-274F-B1CF-5E05B3741284}" dt="2023-12-06T21:22:45.982" v="1297" actId="21"/>
          <ac:graphicFrameMkLst>
            <pc:docMk/>
            <pc:sldMk cId="793417744" sldId="338"/>
            <ac:graphicFrameMk id="8" creationId="{A901D3B5-3639-9BB7-8CE9-00A321DCFC48}"/>
          </ac:graphicFrameMkLst>
        </pc:graphicFrameChg>
        <pc:picChg chg="add del mod">
          <ac:chgData name="Jessy Hu" userId="f2d34ac4-8535-4a4b-87f4-a2602f82559e" providerId="ADAL" clId="{3768937E-7146-274F-B1CF-5E05B3741284}" dt="2023-12-06T21:08:06.582" v="743" actId="478"/>
          <ac:picMkLst>
            <pc:docMk/>
            <pc:sldMk cId="793417744" sldId="338"/>
            <ac:picMk id="5" creationId="{AC1E657A-4607-1763-8C3F-5A188EA5803F}"/>
          </ac:picMkLst>
        </pc:picChg>
        <pc:picChg chg="add del mod">
          <ac:chgData name="Jessy Hu" userId="f2d34ac4-8535-4a4b-87f4-a2602f82559e" providerId="ADAL" clId="{3768937E-7146-274F-B1CF-5E05B3741284}" dt="2023-12-06T21:08:44.619" v="747" actId="478"/>
          <ac:picMkLst>
            <pc:docMk/>
            <pc:sldMk cId="793417744" sldId="338"/>
            <ac:picMk id="6" creationId="{0E421C7E-39B0-FDB4-CAB1-792B082D3E0C}"/>
          </ac:picMkLst>
        </pc:picChg>
        <pc:picChg chg="add del mod">
          <ac:chgData name="Jessy Hu" userId="f2d34ac4-8535-4a4b-87f4-a2602f82559e" providerId="ADAL" clId="{3768937E-7146-274F-B1CF-5E05B3741284}" dt="2023-12-06T21:16:11.837" v="816" actId="478"/>
          <ac:picMkLst>
            <pc:docMk/>
            <pc:sldMk cId="793417744" sldId="338"/>
            <ac:picMk id="7" creationId="{F2990091-E823-8006-00AE-68BB7872A3BE}"/>
          </ac:picMkLst>
        </pc:picChg>
        <pc:picChg chg="add del mod">
          <ac:chgData name="Jessy Hu" userId="f2d34ac4-8535-4a4b-87f4-a2602f82559e" providerId="ADAL" clId="{3768937E-7146-274F-B1CF-5E05B3741284}" dt="2023-12-06T21:12:03.575" v="767" actId="478"/>
          <ac:picMkLst>
            <pc:docMk/>
            <pc:sldMk cId="793417744" sldId="338"/>
            <ac:picMk id="9" creationId="{F5879FEA-10F8-23A5-BF9D-7B5D63BB7E62}"/>
          </ac:picMkLst>
        </pc:picChg>
        <pc:picChg chg="add del mod">
          <ac:chgData name="Jessy Hu" userId="f2d34ac4-8535-4a4b-87f4-a2602f82559e" providerId="ADAL" clId="{3768937E-7146-274F-B1CF-5E05B3741284}" dt="2023-12-06T21:15:35.663" v="808" actId="21"/>
          <ac:picMkLst>
            <pc:docMk/>
            <pc:sldMk cId="793417744" sldId="338"/>
            <ac:picMk id="10" creationId="{EB069A4B-4706-E5A8-5D0C-59E59129D9F9}"/>
          </ac:picMkLst>
        </pc:picChg>
        <pc:picChg chg="add mod">
          <ac:chgData name="Jessy Hu" userId="f2d34ac4-8535-4a4b-87f4-a2602f82559e" providerId="ADAL" clId="{3768937E-7146-274F-B1CF-5E05B3741284}" dt="2023-12-06T21:57:01.023" v="1981" actId="1076"/>
          <ac:picMkLst>
            <pc:docMk/>
            <pc:sldMk cId="793417744" sldId="338"/>
            <ac:picMk id="11" creationId="{4CBAABCB-5A89-C239-966A-D578F69CFA99}"/>
          </ac:picMkLst>
        </pc:picChg>
        <pc:picChg chg="add del mod">
          <ac:chgData name="Jessy Hu" userId="f2d34ac4-8535-4a4b-87f4-a2602f82559e" providerId="ADAL" clId="{3768937E-7146-274F-B1CF-5E05B3741284}" dt="2023-12-06T21:43:55.207" v="1734" actId="21"/>
          <ac:picMkLst>
            <pc:docMk/>
            <pc:sldMk cId="793417744" sldId="338"/>
            <ac:picMk id="12" creationId="{BE18C45F-D76C-8F01-AB46-9835A732E1E4}"/>
          </ac:picMkLst>
        </pc:picChg>
        <pc:cxnChg chg="add mod">
          <ac:chgData name="Jessy Hu" userId="f2d34ac4-8535-4a4b-87f4-a2602f82559e" providerId="ADAL" clId="{3768937E-7146-274F-B1CF-5E05B3741284}" dt="2023-12-06T21:46:54.633" v="1767" actId="1076"/>
          <ac:cxnSpMkLst>
            <pc:docMk/>
            <pc:sldMk cId="793417744" sldId="338"/>
            <ac:cxnSpMk id="24" creationId="{787868B9-500D-44D9-538A-55F8C77172A1}"/>
          </ac:cxnSpMkLst>
        </pc:cxnChg>
        <pc:cxnChg chg="add mod">
          <ac:chgData name="Jessy Hu" userId="f2d34ac4-8535-4a4b-87f4-a2602f82559e" providerId="ADAL" clId="{3768937E-7146-274F-B1CF-5E05B3741284}" dt="2023-12-06T21:46:54.633" v="1767" actId="1076"/>
          <ac:cxnSpMkLst>
            <pc:docMk/>
            <pc:sldMk cId="793417744" sldId="338"/>
            <ac:cxnSpMk id="25" creationId="{396E3C57-218D-7A71-48DD-62AC72577A3E}"/>
          </ac:cxnSpMkLst>
        </pc:cxnChg>
        <pc:cxnChg chg="add mod">
          <ac:chgData name="Jessy Hu" userId="f2d34ac4-8535-4a4b-87f4-a2602f82559e" providerId="ADAL" clId="{3768937E-7146-274F-B1CF-5E05B3741284}" dt="2023-12-06T21:46:54.633" v="1767" actId="1076"/>
          <ac:cxnSpMkLst>
            <pc:docMk/>
            <pc:sldMk cId="793417744" sldId="338"/>
            <ac:cxnSpMk id="26" creationId="{33292DB5-410C-0B11-C805-6682C63348AF}"/>
          </ac:cxnSpMkLst>
        </pc:cxnChg>
        <pc:cxnChg chg="add mod">
          <ac:chgData name="Jessy Hu" userId="f2d34ac4-8535-4a4b-87f4-a2602f82559e" providerId="ADAL" clId="{3768937E-7146-274F-B1CF-5E05B3741284}" dt="2023-12-06T21:46:29.548" v="1765" actId="14100"/>
          <ac:cxnSpMkLst>
            <pc:docMk/>
            <pc:sldMk cId="793417744" sldId="338"/>
            <ac:cxnSpMk id="27" creationId="{16C2426E-11C0-809B-9E7B-07BE6E27ECF2}"/>
          </ac:cxnSpMkLst>
        </pc:cxnChg>
        <pc:cxnChg chg="add mod">
          <ac:chgData name="Jessy Hu" userId="f2d34ac4-8535-4a4b-87f4-a2602f82559e" providerId="ADAL" clId="{3768937E-7146-274F-B1CF-5E05B3741284}" dt="2023-12-06T21:46:34.441" v="1766" actId="1076"/>
          <ac:cxnSpMkLst>
            <pc:docMk/>
            <pc:sldMk cId="793417744" sldId="338"/>
            <ac:cxnSpMk id="28" creationId="{CDE619CA-97E5-3E6F-7A6E-549380FF9732}"/>
          </ac:cxnSpMkLst>
        </pc:cxnChg>
        <pc:cxnChg chg="add mod">
          <ac:chgData name="Jessy Hu" userId="f2d34ac4-8535-4a4b-87f4-a2602f82559e" providerId="ADAL" clId="{3768937E-7146-274F-B1CF-5E05B3741284}" dt="2023-12-06T21:46:20.468" v="1763" actId="14100"/>
          <ac:cxnSpMkLst>
            <pc:docMk/>
            <pc:sldMk cId="793417744" sldId="338"/>
            <ac:cxnSpMk id="29" creationId="{66A8A9AF-67D9-7425-42BA-84657851C990}"/>
          </ac:cxnSpMkLst>
        </pc:cxnChg>
      </pc:sldChg>
      <pc:sldChg chg="addSp delSp modSp new mod modNotesTx">
        <pc:chgData name="Jessy Hu" userId="f2d34ac4-8535-4a4b-87f4-a2602f82559e" providerId="ADAL" clId="{3768937E-7146-274F-B1CF-5E05B3741284}" dt="2023-12-08T01:39:23.589" v="5176" actId="20577"/>
        <pc:sldMkLst>
          <pc:docMk/>
          <pc:sldMk cId="975507179" sldId="339"/>
        </pc:sldMkLst>
        <pc:spChg chg="del">
          <ac:chgData name="Jessy Hu" userId="f2d34ac4-8535-4a4b-87f4-a2602f82559e" providerId="ADAL" clId="{3768937E-7146-274F-B1CF-5E05B3741284}" dt="2023-12-06T21:48:11.858" v="1841" actId="478"/>
          <ac:spMkLst>
            <pc:docMk/>
            <pc:sldMk cId="975507179" sldId="339"/>
            <ac:spMk id="2" creationId="{53C87744-49E4-CB3E-A5DE-3A68C5C421D7}"/>
          </ac:spMkLst>
        </pc:spChg>
        <pc:spChg chg="del">
          <ac:chgData name="Jessy Hu" userId="f2d34ac4-8535-4a4b-87f4-a2602f82559e" providerId="ADAL" clId="{3768937E-7146-274F-B1CF-5E05B3741284}" dt="2023-12-06T21:48:09.709" v="1840" actId="478"/>
          <ac:spMkLst>
            <pc:docMk/>
            <pc:sldMk cId="975507179" sldId="339"/>
            <ac:spMk id="3" creationId="{DFF6608E-E979-FCFB-FAF2-CEF509377C20}"/>
          </ac:spMkLst>
        </pc:spChg>
        <pc:spChg chg="del">
          <ac:chgData name="Jessy Hu" userId="f2d34ac4-8535-4a4b-87f4-a2602f82559e" providerId="ADAL" clId="{3768937E-7146-274F-B1CF-5E05B3741284}" dt="2023-12-06T21:48:13.877" v="1842" actId="478"/>
          <ac:spMkLst>
            <pc:docMk/>
            <pc:sldMk cId="975507179" sldId="339"/>
            <ac:spMk id="4" creationId="{29574B8F-8C00-EC4D-EC3B-971661BE39FE}"/>
          </ac:spMkLst>
        </pc:spChg>
        <pc:spChg chg="add del mod">
          <ac:chgData name="Jessy Hu" userId="f2d34ac4-8535-4a4b-87f4-a2602f82559e" providerId="ADAL" clId="{3768937E-7146-274F-B1CF-5E05B3741284}" dt="2023-12-06T21:36:13.359" v="1660" actId="21"/>
          <ac:spMkLst>
            <pc:docMk/>
            <pc:sldMk cId="975507179" sldId="339"/>
            <ac:spMk id="7" creationId="{32904B1F-2953-9099-5B44-66036821F8A4}"/>
          </ac:spMkLst>
        </pc:spChg>
        <pc:spChg chg="add del mod">
          <ac:chgData name="Jessy Hu" userId="f2d34ac4-8535-4a4b-87f4-a2602f82559e" providerId="ADAL" clId="{3768937E-7146-274F-B1CF-5E05B3741284}" dt="2023-12-06T21:57:12.470" v="1982" actId="478"/>
          <ac:spMkLst>
            <pc:docMk/>
            <pc:sldMk cId="975507179" sldId="339"/>
            <ac:spMk id="8" creationId="{083495AD-E999-23F7-9B6A-71532E1F075E}"/>
          </ac:spMkLst>
        </pc:spChg>
        <pc:spChg chg="add mod">
          <ac:chgData name="Jessy Hu" userId="f2d34ac4-8535-4a4b-87f4-a2602f82559e" providerId="ADAL" clId="{3768937E-7146-274F-B1CF-5E05B3741284}" dt="2023-12-06T23:24:08.117" v="4196" actId="1076"/>
          <ac:spMkLst>
            <pc:docMk/>
            <pc:sldMk cId="975507179" sldId="339"/>
            <ac:spMk id="10" creationId="{24F14525-A068-FC90-ECD7-588479C6EA86}"/>
          </ac:spMkLst>
        </pc:spChg>
        <pc:spChg chg="add mod">
          <ac:chgData name="Jessy Hu" userId="f2d34ac4-8535-4a4b-87f4-a2602f82559e" providerId="ADAL" clId="{3768937E-7146-274F-B1CF-5E05B3741284}" dt="2023-12-06T22:05:42.695" v="2154" actId="692"/>
          <ac:spMkLst>
            <pc:docMk/>
            <pc:sldMk cId="975507179" sldId="339"/>
            <ac:spMk id="12" creationId="{E3BF51AB-A294-0E1E-8DF0-6267E0F5A856}"/>
          </ac:spMkLst>
        </pc:spChg>
        <pc:spChg chg="add mod">
          <ac:chgData name="Jessy Hu" userId="f2d34ac4-8535-4a4b-87f4-a2602f82559e" providerId="ADAL" clId="{3768937E-7146-274F-B1CF-5E05B3741284}" dt="2023-12-07T06:09:21.658" v="4734" actId="1076"/>
          <ac:spMkLst>
            <pc:docMk/>
            <pc:sldMk cId="975507179" sldId="339"/>
            <ac:spMk id="17" creationId="{04CC056C-3B9B-AB19-9E0B-71F292C80B4B}"/>
          </ac:spMkLst>
        </pc:spChg>
        <pc:spChg chg="add mod">
          <ac:chgData name="Jessy Hu" userId="f2d34ac4-8535-4a4b-87f4-a2602f82559e" providerId="ADAL" clId="{3768937E-7146-274F-B1CF-5E05B3741284}" dt="2023-12-06T22:04:56.695" v="2152" actId="692"/>
          <ac:spMkLst>
            <pc:docMk/>
            <pc:sldMk cId="975507179" sldId="339"/>
            <ac:spMk id="29" creationId="{1E10CB4A-E468-C6B9-4D29-95DF35456E45}"/>
          </ac:spMkLst>
        </pc:spChg>
        <pc:spChg chg="add mod">
          <ac:chgData name="Jessy Hu" userId="f2d34ac4-8535-4a4b-87f4-a2602f82559e" providerId="ADAL" clId="{3768937E-7146-274F-B1CF-5E05B3741284}" dt="2023-12-07T06:09:23.931" v="4735" actId="1076"/>
          <ac:spMkLst>
            <pc:docMk/>
            <pc:sldMk cId="975507179" sldId="339"/>
            <ac:spMk id="30" creationId="{4D1FFA59-22A7-2047-3841-2276F7CC9325}"/>
          </ac:spMkLst>
        </pc:spChg>
        <pc:graphicFrameChg chg="add mod modGraphic">
          <ac:chgData name="Jessy Hu" userId="f2d34ac4-8535-4a4b-87f4-a2602f82559e" providerId="ADAL" clId="{3768937E-7146-274F-B1CF-5E05B3741284}" dt="2023-12-06T22:06:11.467" v="2158" actId="1076"/>
          <ac:graphicFrameMkLst>
            <pc:docMk/>
            <pc:sldMk cId="975507179" sldId="339"/>
            <ac:graphicFrameMk id="6" creationId="{EB1EBAB7-F83B-730E-F8E4-4A1723C366C5}"/>
          </ac:graphicFrameMkLst>
        </pc:graphicFrameChg>
        <pc:picChg chg="add mod">
          <ac:chgData name="Jessy Hu" userId="f2d34ac4-8535-4a4b-87f4-a2602f82559e" providerId="ADAL" clId="{3768937E-7146-274F-B1CF-5E05B3741284}" dt="2023-12-06T21:59:05.336" v="2015" actId="1076"/>
          <ac:picMkLst>
            <pc:docMk/>
            <pc:sldMk cId="975507179" sldId="339"/>
            <ac:picMk id="5" creationId="{7CE4CC49-13C4-4595-0463-9EDF1ABA4504}"/>
          </ac:picMkLst>
        </pc:picChg>
        <pc:picChg chg="add del mod">
          <ac:chgData name="Jessy Hu" userId="f2d34ac4-8535-4a4b-87f4-a2602f82559e" providerId="ADAL" clId="{3768937E-7146-274F-B1CF-5E05B3741284}" dt="2023-12-06T21:55:15.051" v="1958" actId="478"/>
          <ac:picMkLst>
            <pc:docMk/>
            <pc:sldMk cId="975507179" sldId="339"/>
            <ac:picMk id="9" creationId="{E850BB92-8EE5-555E-C434-F103AD3E219B}"/>
          </ac:picMkLst>
        </pc:picChg>
        <pc:picChg chg="add del mod modCrop">
          <ac:chgData name="Jessy Hu" userId="f2d34ac4-8535-4a4b-87f4-a2602f82559e" providerId="ADAL" clId="{3768937E-7146-274F-B1CF-5E05B3741284}" dt="2023-12-06T21:56:38.039" v="1975" actId="478"/>
          <ac:picMkLst>
            <pc:docMk/>
            <pc:sldMk cId="975507179" sldId="339"/>
            <ac:picMk id="11" creationId="{605D8383-F8CA-4FBD-8963-18734EB59491}"/>
          </ac:picMkLst>
        </pc:picChg>
        <pc:cxnChg chg="add del mod">
          <ac:chgData name="Jessy Hu" userId="f2d34ac4-8535-4a4b-87f4-a2602f82559e" providerId="ADAL" clId="{3768937E-7146-274F-B1CF-5E05B3741284}" dt="2023-12-06T21:58:57.837" v="2013" actId="478"/>
          <ac:cxnSpMkLst>
            <pc:docMk/>
            <pc:sldMk cId="975507179" sldId="339"/>
            <ac:cxnSpMk id="14" creationId="{08901573-65D7-CE5F-BD17-BA6FF5200FF9}"/>
          </ac:cxnSpMkLst>
        </pc:cxnChg>
        <pc:cxnChg chg="add del mod">
          <ac:chgData name="Jessy Hu" userId="f2d34ac4-8535-4a4b-87f4-a2602f82559e" providerId="ADAL" clId="{3768937E-7146-274F-B1CF-5E05B3741284}" dt="2023-12-06T21:59:29.626" v="2046" actId="478"/>
          <ac:cxnSpMkLst>
            <pc:docMk/>
            <pc:sldMk cId="975507179" sldId="339"/>
            <ac:cxnSpMk id="19" creationId="{2E6A9EC5-7F9E-BD67-1C82-77EB4F589B0D}"/>
          </ac:cxnSpMkLst>
        </pc:cxnChg>
        <pc:cxnChg chg="add mod">
          <ac:chgData name="Jessy Hu" userId="f2d34ac4-8535-4a4b-87f4-a2602f82559e" providerId="ADAL" clId="{3768937E-7146-274F-B1CF-5E05B3741284}" dt="2023-12-07T06:09:21.658" v="4734" actId="1076"/>
          <ac:cxnSpMkLst>
            <pc:docMk/>
            <pc:sldMk cId="975507179" sldId="339"/>
            <ac:cxnSpMk id="21" creationId="{C97D119B-B334-B743-DABA-51BE3837F6DC}"/>
          </ac:cxnSpMkLst>
        </pc:cxnChg>
        <pc:cxnChg chg="add mod">
          <ac:chgData name="Jessy Hu" userId="f2d34ac4-8535-4a4b-87f4-a2602f82559e" providerId="ADAL" clId="{3768937E-7146-274F-B1CF-5E05B3741284}" dt="2023-12-07T06:09:23.931" v="4735" actId="1076"/>
          <ac:cxnSpMkLst>
            <pc:docMk/>
            <pc:sldMk cId="975507179" sldId="339"/>
            <ac:cxnSpMk id="34" creationId="{4591703A-3F9B-7047-8D07-BE9C07360446}"/>
          </ac:cxnSpMkLst>
        </pc:cxnChg>
      </pc:sldChg>
      <pc:sldChg chg="addSp delSp modSp new mod modNotesTx">
        <pc:chgData name="Jessy Hu" userId="f2d34ac4-8535-4a4b-87f4-a2602f82559e" providerId="ADAL" clId="{3768937E-7146-274F-B1CF-5E05B3741284}" dt="2023-12-08T01:39:31.789" v="5177"/>
        <pc:sldMkLst>
          <pc:docMk/>
          <pc:sldMk cId="97044753" sldId="340"/>
        </pc:sldMkLst>
        <pc:spChg chg="del">
          <ac:chgData name="Jessy Hu" userId="f2d34ac4-8535-4a4b-87f4-a2602f82559e" providerId="ADAL" clId="{3768937E-7146-274F-B1CF-5E05B3741284}" dt="2023-12-06T22:16:21.321" v="2315" actId="478"/>
          <ac:spMkLst>
            <pc:docMk/>
            <pc:sldMk cId="97044753" sldId="340"/>
            <ac:spMk id="2" creationId="{8D0F6A7F-E510-6E79-EC5F-3E31C21BB153}"/>
          </ac:spMkLst>
        </pc:spChg>
        <pc:spChg chg="del">
          <ac:chgData name="Jessy Hu" userId="f2d34ac4-8535-4a4b-87f4-a2602f82559e" providerId="ADAL" clId="{3768937E-7146-274F-B1CF-5E05B3741284}" dt="2023-12-06T22:16:21.321" v="2315" actId="478"/>
          <ac:spMkLst>
            <pc:docMk/>
            <pc:sldMk cId="97044753" sldId="340"/>
            <ac:spMk id="3" creationId="{31E837E7-B5BB-45CA-3416-1BA6B82B14E8}"/>
          </ac:spMkLst>
        </pc:spChg>
        <pc:spChg chg="del">
          <ac:chgData name="Jessy Hu" userId="f2d34ac4-8535-4a4b-87f4-a2602f82559e" providerId="ADAL" clId="{3768937E-7146-274F-B1CF-5E05B3741284}" dt="2023-12-06T22:16:21.321" v="2315" actId="478"/>
          <ac:spMkLst>
            <pc:docMk/>
            <pc:sldMk cId="97044753" sldId="340"/>
            <ac:spMk id="4" creationId="{7EB5848F-9BC5-035B-84BA-F5648EB8024F}"/>
          </ac:spMkLst>
        </pc:spChg>
        <pc:spChg chg="add mod">
          <ac:chgData name="Jessy Hu" userId="f2d34ac4-8535-4a4b-87f4-a2602f82559e" providerId="ADAL" clId="{3768937E-7146-274F-B1CF-5E05B3741284}" dt="2023-12-06T23:24:27.350" v="4201" actId="1076"/>
          <ac:spMkLst>
            <pc:docMk/>
            <pc:sldMk cId="97044753" sldId="340"/>
            <ac:spMk id="5" creationId="{E867F40A-838D-AA26-DDDD-26DA001FE94F}"/>
          </ac:spMkLst>
        </pc:spChg>
        <pc:spChg chg="add mod">
          <ac:chgData name="Jessy Hu" userId="f2d34ac4-8535-4a4b-87f4-a2602f82559e" providerId="ADAL" clId="{3768937E-7146-274F-B1CF-5E05B3741284}" dt="2023-12-06T22:43:55.143" v="2514" actId="1076"/>
          <ac:spMkLst>
            <pc:docMk/>
            <pc:sldMk cId="97044753" sldId="340"/>
            <ac:spMk id="9" creationId="{43742128-0609-66AD-D3E6-D060D9140F4B}"/>
          </ac:spMkLst>
        </pc:spChg>
        <pc:spChg chg="add mod">
          <ac:chgData name="Jessy Hu" userId="f2d34ac4-8535-4a4b-87f4-a2602f82559e" providerId="ADAL" clId="{3768937E-7146-274F-B1CF-5E05B3741284}" dt="2023-12-06T22:53:19.993" v="2900" actId="1076"/>
          <ac:spMkLst>
            <pc:docMk/>
            <pc:sldMk cId="97044753" sldId="340"/>
            <ac:spMk id="10" creationId="{0A0B9E8B-699C-B78C-5E8F-B216592064DF}"/>
          </ac:spMkLst>
        </pc:spChg>
        <pc:spChg chg="add mod">
          <ac:chgData name="Jessy Hu" userId="f2d34ac4-8535-4a4b-87f4-a2602f82559e" providerId="ADAL" clId="{3768937E-7146-274F-B1CF-5E05B3741284}" dt="2023-12-07T06:09:03.187" v="4731" actId="12"/>
          <ac:spMkLst>
            <pc:docMk/>
            <pc:sldMk cId="97044753" sldId="340"/>
            <ac:spMk id="15" creationId="{E2F3A4E0-CCC0-0280-67A6-DCE68C045A28}"/>
          </ac:spMkLst>
        </pc:spChg>
        <pc:spChg chg="mod">
          <ac:chgData name="Jessy Hu" userId="f2d34ac4-8535-4a4b-87f4-a2602f82559e" providerId="ADAL" clId="{3768937E-7146-274F-B1CF-5E05B3741284}" dt="2023-12-06T22:47:38.197" v="2864" actId="207"/>
          <ac:spMkLst>
            <pc:docMk/>
            <pc:sldMk cId="97044753" sldId="340"/>
            <ac:spMk id="22" creationId="{2924DE31-429B-F247-167D-2B731D2C21BC}"/>
          </ac:spMkLst>
        </pc:spChg>
        <pc:spChg chg="mod">
          <ac:chgData name="Jessy Hu" userId="f2d34ac4-8535-4a4b-87f4-a2602f82559e" providerId="ADAL" clId="{3768937E-7146-274F-B1CF-5E05B3741284}" dt="2023-12-06T22:47:38.197" v="2864" actId="207"/>
          <ac:spMkLst>
            <pc:docMk/>
            <pc:sldMk cId="97044753" sldId="340"/>
            <ac:spMk id="23" creationId="{739C7014-0940-89BC-DDE8-1D3946D69478}"/>
          </ac:spMkLst>
        </pc:spChg>
        <pc:spChg chg="mod">
          <ac:chgData name="Jessy Hu" userId="f2d34ac4-8535-4a4b-87f4-a2602f82559e" providerId="ADAL" clId="{3768937E-7146-274F-B1CF-5E05B3741284}" dt="2023-12-06T22:47:38.197" v="2864" actId="207"/>
          <ac:spMkLst>
            <pc:docMk/>
            <pc:sldMk cId="97044753" sldId="340"/>
            <ac:spMk id="24" creationId="{94AB3EA7-4AD1-3F29-4EF6-6C3442158F1A}"/>
          </ac:spMkLst>
        </pc:spChg>
        <pc:spChg chg="mod">
          <ac:chgData name="Jessy Hu" userId="f2d34ac4-8535-4a4b-87f4-a2602f82559e" providerId="ADAL" clId="{3768937E-7146-274F-B1CF-5E05B3741284}" dt="2023-12-06T22:47:38.197" v="2864" actId="207"/>
          <ac:spMkLst>
            <pc:docMk/>
            <pc:sldMk cId="97044753" sldId="340"/>
            <ac:spMk id="25" creationId="{6A174D90-857A-FF45-8B7A-9CA92E1F29D7}"/>
          </ac:spMkLst>
        </pc:spChg>
        <pc:spChg chg="mod">
          <ac:chgData name="Jessy Hu" userId="f2d34ac4-8535-4a4b-87f4-a2602f82559e" providerId="ADAL" clId="{3768937E-7146-274F-B1CF-5E05B3741284}" dt="2023-12-06T22:47:38.197" v="2864" actId="207"/>
          <ac:spMkLst>
            <pc:docMk/>
            <pc:sldMk cId="97044753" sldId="340"/>
            <ac:spMk id="26" creationId="{D352A533-6A6B-5E63-BC50-44B0B1CE9C5B}"/>
          </ac:spMkLst>
        </pc:spChg>
        <pc:spChg chg="add mod">
          <ac:chgData name="Jessy Hu" userId="f2d34ac4-8535-4a4b-87f4-a2602f82559e" providerId="ADAL" clId="{3768937E-7146-274F-B1CF-5E05B3741284}" dt="2023-12-06T22:48:56.993" v="2876" actId="207"/>
          <ac:spMkLst>
            <pc:docMk/>
            <pc:sldMk cId="97044753" sldId="340"/>
            <ac:spMk id="27" creationId="{69F56E7B-7754-570A-A320-B3AFDC995759}"/>
          </ac:spMkLst>
        </pc:spChg>
        <pc:spChg chg="mod">
          <ac:chgData name="Jessy Hu" userId="f2d34ac4-8535-4a4b-87f4-a2602f82559e" providerId="ADAL" clId="{3768937E-7146-274F-B1CF-5E05B3741284}" dt="2023-12-06T22:49:05.324" v="2877" actId="207"/>
          <ac:spMkLst>
            <pc:docMk/>
            <pc:sldMk cId="97044753" sldId="340"/>
            <ac:spMk id="29" creationId="{6683B6C1-DA63-7F07-3A3E-4C52849488E2}"/>
          </ac:spMkLst>
        </pc:spChg>
        <pc:spChg chg="mod">
          <ac:chgData name="Jessy Hu" userId="f2d34ac4-8535-4a4b-87f4-a2602f82559e" providerId="ADAL" clId="{3768937E-7146-274F-B1CF-5E05B3741284}" dt="2023-12-06T22:49:05.324" v="2877" actId="207"/>
          <ac:spMkLst>
            <pc:docMk/>
            <pc:sldMk cId="97044753" sldId="340"/>
            <ac:spMk id="30" creationId="{C7B9F495-419D-4B4B-9560-CE13E23B4ADF}"/>
          </ac:spMkLst>
        </pc:spChg>
        <pc:spChg chg="mod">
          <ac:chgData name="Jessy Hu" userId="f2d34ac4-8535-4a4b-87f4-a2602f82559e" providerId="ADAL" clId="{3768937E-7146-274F-B1CF-5E05B3741284}" dt="2023-12-06T22:49:05.324" v="2877" actId="207"/>
          <ac:spMkLst>
            <pc:docMk/>
            <pc:sldMk cId="97044753" sldId="340"/>
            <ac:spMk id="31" creationId="{C032074C-48B0-21C0-9B88-5DAEA1539177}"/>
          </ac:spMkLst>
        </pc:spChg>
        <pc:spChg chg="mod">
          <ac:chgData name="Jessy Hu" userId="f2d34ac4-8535-4a4b-87f4-a2602f82559e" providerId="ADAL" clId="{3768937E-7146-274F-B1CF-5E05B3741284}" dt="2023-12-06T22:49:05.324" v="2877" actId="207"/>
          <ac:spMkLst>
            <pc:docMk/>
            <pc:sldMk cId="97044753" sldId="340"/>
            <ac:spMk id="32" creationId="{B778C602-F8E6-BB59-313D-F65BD014C799}"/>
          </ac:spMkLst>
        </pc:spChg>
        <pc:spChg chg="mod">
          <ac:chgData name="Jessy Hu" userId="f2d34ac4-8535-4a4b-87f4-a2602f82559e" providerId="ADAL" clId="{3768937E-7146-274F-B1CF-5E05B3741284}" dt="2023-12-06T22:49:05.324" v="2877" actId="207"/>
          <ac:spMkLst>
            <pc:docMk/>
            <pc:sldMk cId="97044753" sldId="340"/>
            <ac:spMk id="33" creationId="{CAF8F33C-89E8-3567-8F51-AE66CC94C221}"/>
          </ac:spMkLst>
        </pc:spChg>
        <pc:spChg chg="mod">
          <ac:chgData name="Jessy Hu" userId="f2d34ac4-8535-4a4b-87f4-a2602f82559e" providerId="ADAL" clId="{3768937E-7146-274F-B1CF-5E05B3741284}" dt="2023-12-06T22:49:05.324" v="2877" actId="207"/>
          <ac:spMkLst>
            <pc:docMk/>
            <pc:sldMk cId="97044753" sldId="340"/>
            <ac:spMk id="34" creationId="{478D0F63-BBB8-8FB0-965F-5F91D0E3698E}"/>
          </ac:spMkLst>
        </pc:spChg>
        <pc:spChg chg="mod">
          <ac:chgData name="Jessy Hu" userId="f2d34ac4-8535-4a4b-87f4-a2602f82559e" providerId="ADAL" clId="{3768937E-7146-274F-B1CF-5E05B3741284}" dt="2023-12-06T22:49:05.324" v="2877" actId="207"/>
          <ac:spMkLst>
            <pc:docMk/>
            <pc:sldMk cId="97044753" sldId="340"/>
            <ac:spMk id="35" creationId="{9F0148A5-3988-F2CE-D0AC-F8B74D693229}"/>
          </ac:spMkLst>
        </pc:spChg>
        <pc:spChg chg="mod">
          <ac:chgData name="Jessy Hu" userId="f2d34ac4-8535-4a4b-87f4-a2602f82559e" providerId="ADAL" clId="{3768937E-7146-274F-B1CF-5E05B3741284}" dt="2023-12-06T22:49:05.324" v="2877" actId="207"/>
          <ac:spMkLst>
            <pc:docMk/>
            <pc:sldMk cId="97044753" sldId="340"/>
            <ac:spMk id="36" creationId="{04A35405-1D83-57AD-02F4-0D916FA3D018}"/>
          </ac:spMkLst>
        </pc:spChg>
        <pc:grpChg chg="add mod">
          <ac:chgData name="Jessy Hu" userId="f2d34ac4-8535-4a4b-87f4-a2602f82559e" providerId="ADAL" clId="{3768937E-7146-274F-B1CF-5E05B3741284}" dt="2023-12-06T22:47:58.567" v="2868" actId="1076"/>
          <ac:grpSpMkLst>
            <pc:docMk/>
            <pc:sldMk cId="97044753" sldId="340"/>
            <ac:grpSpMk id="21" creationId="{B8FE3F71-DAAC-C847-69E3-4F627943351A}"/>
          </ac:grpSpMkLst>
        </pc:grpChg>
        <pc:grpChg chg="add mod">
          <ac:chgData name="Jessy Hu" userId="f2d34ac4-8535-4a4b-87f4-a2602f82559e" providerId="ADAL" clId="{3768937E-7146-274F-B1CF-5E05B3741284}" dt="2023-12-06T22:49:05.324" v="2877" actId="207"/>
          <ac:grpSpMkLst>
            <pc:docMk/>
            <pc:sldMk cId="97044753" sldId="340"/>
            <ac:grpSpMk id="28" creationId="{8CCC2A27-892E-60EF-F1FF-981E340D21CB}"/>
          </ac:grpSpMkLst>
        </pc:grpChg>
        <pc:picChg chg="add del mod">
          <ac:chgData name="Jessy Hu" userId="f2d34ac4-8535-4a4b-87f4-a2602f82559e" providerId="ADAL" clId="{3768937E-7146-274F-B1CF-5E05B3741284}" dt="2023-12-06T22:23:44.763" v="2362" actId="478"/>
          <ac:picMkLst>
            <pc:docMk/>
            <pc:sldMk cId="97044753" sldId="340"/>
            <ac:picMk id="6" creationId="{A90E3C7A-C693-4787-1620-57A6B609C8E6}"/>
          </ac:picMkLst>
        </pc:picChg>
        <pc:picChg chg="add del mod">
          <ac:chgData name="Jessy Hu" userId="f2d34ac4-8535-4a4b-87f4-a2602f82559e" providerId="ADAL" clId="{3768937E-7146-274F-B1CF-5E05B3741284}" dt="2023-12-06T22:34:50.101" v="2369" actId="478"/>
          <ac:picMkLst>
            <pc:docMk/>
            <pc:sldMk cId="97044753" sldId="340"/>
            <ac:picMk id="7" creationId="{14AC79C6-3A6C-8DD4-986F-64836801BD56}"/>
          </ac:picMkLst>
        </pc:picChg>
        <pc:picChg chg="add mod">
          <ac:chgData name="Jessy Hu" userId="f2d34ac4-8535-4a4b-87f4-a2602f82559e" providerId="ADAL" clId="{3768937E-7146-274F-B1CF-5E05B3741284}" dt="2023-12-06T22:43:52.305" v="2513" actId="1076"/>
          <ac:picMkLst>
            <pc:docMk/>
            <pc:sldMk cId="97044753" sldId="340"/>
            <ac:picMk id="8" creationId="{A882F1E7-AA82-B84A-30F3-43B1A3A5E117}"/>
          </ac:picMkLst>
        </pc:picChg>
        <pc:cxnChg chg="add mod">
          <ac:chgData name="Jessy Hu" userId="f2d34ac4-8535-4a4b-87f4-a2602f82559e" providerId="ADAL" clId="{3768937E-7146-274F-B1CF-5E05B3741284}" dt="2023-12-06T22:53:19.993" v="2900" actId="1076"/>
          <ac:cxnSpMkLst>
            <pc:docMk/>
            <pc:sldMk cId="97044753" sldId="340"/>
            <ac:cxnSpMk id="12" creationId="{B7F2261C-5A35-5530-A1A0-7F616631447B}"/>
          </ac:cxnSpMkLst>
        </pc:cxnChg>
      </pc:sldChg>
      <pc:sldChg chg="addSp delSp modSp new mod modNotesTx">
        <pc:chgData name="Jessy Hu" userId="f2d34ac4-8535-4a4b-87f4-a2602f82559e" providerId="ADAL" clId="{3768937E-7146-274F-B1CF-5E05B3741284}" dt="2023-12-08T01:39:38.964" v="5178"/>
        <pc:sldMkLst>
          <pc:docMk/>
          <pc:sldMk cId="4044400470" sldId="341"/>
        </pc:sldMkLst>
        <pc:spChg chg="del">
          <ac:chgData name="Jessy Hu" userId="f2d34ac4-8535-4a4b-87f4-a2602f82559e" providerId="ADAL" clId="{3768937E-7146-274F-B1CF-5E05B3741284}" dt="2023-12-06T22:49:31.732" v="2881" actId="478"/>
          <ac:spMkLst>
            <pc:docMk/>
            <pc:sldMk cId="4044400470" sldId="341"/>
            <ac:spMk id="2" creationId="{7147E8A2-CBDB-3C10-DD67-EB15E3485E28}"/>
          </ac:spMkLst>
        </pc:spChg>
        <pc:spChg chg="del">
          <ac:chgData name="Jessy Hu" userId="f2d34ac4-8535-4a4b-87f4-a2602f82559e" providerId="ADAL" clId="{3768937E-7146-274F-B1CF-5E05B3741284}" dt="2023-12-06T22:49:29.624" v="2880" actId="478"/>
          <ac:spMkLst>
            <pc:docMk/>
            <pc:sldMk cId="4044400470" sldId="341"/>
            <ac:spMk id="3" creationId="{BB52BDCF-C94B-DEB7-872E-6ABC3F19D98B}"/>
          </ac:spMkLst>
        </pc:spChg>
        <pc:spChg chg="del">
          <ac:chgData name="Jessy Hu" userId="f2d34ac4-8535-4a4b-87f4-a2602f82559e" providerId="ADAL" clId="{3768937E-7146-274F-B1CF-5E05B3741284}" dt="2023-12-06T22:49:31.732" v="2881" actId="478"/>
          <ac:spMkLst>
            <pc:docMk/>
            <pc:sldMk cId="4044400470" sldId="341"/>
            <ac:spMk id="4" creationId="{E49442FA-6064-6405-41E1-A368DAB4DE36}"/>
          </ac:spMkLst>
        </pc:spChg>
        <pc:spChg chg="add mod">
          <ac:chgData name="Jessy Hu" userId="f2d34ac4-8535-4a4b-87f4-a2602f82559e" providerId="ADAL" clId="{3768937E-7146-274F-B1CF-5E05B3741284}" dt="2023-12-06T23:24:23.038" v="4200" actId="1076"/>
          <ac:spMkLst>
            <pc:docMk/>
            <pc:sldMk cId="4044400470" sldId="341"/>
            <ac:spMk id="5" creationId="{12197ECC-BA74-45FB-15BE-6D3B44B3EA08}"/>
          </ac:spMkLst>
        </pc:spChg>
        <pc:spChg chg="add del">
          <ac:chgData name="Jessy Hu" userId="f2d34ac4-8535-4a4b-87f4-a2602f82559e" providerId="ADAL" clId="{3768937E-7146-274F-B1CF-5E05B3741284}" dt="2023-12-06T22:51:50.848" v="2888" actId="478"/>
          <ac:spMkLst>
            <pc:docMk/>
            <pc:sldMk cId="4044400470" sldId="341"/>
            <ac:spMk id="7" creationId="{6475739B-4A8C-738F-E7CB-3837C0CE75EE}"/>
          </ac:spMkLst>
        </pc:spChg>
        <pc:spChg chg="add mod">
          <ac:chgData name="Jessy Hu" userId="f2d34ac4-8535-4a4b-87f4-a2602f82559e" providerId="ADAL" clId="{3768937E-7146-274F-B1CF-5E05B3741284}" dt="2023-12-06T22:52:22.209" v="2899" actId="692"/>
          <ac:spMkLst>
            <pc:docMk/>
            <pc:sldMk cId="4044400470" sldId="341"/>
            <ac:spMk id="8" creationId="{9E08EE0C-9347-2A6F-5538-0CC86033C269}"/>
          </ac:spMkLst>
        </pc:spChg>
        <pc:spChg chg="add mod">
          <ac:chgData name="Jessy Hu" userId="f2d34ac4-8535-4a4b-87f4-a2602f82559e" providerId="ADAL" clId="{3768937E-7146-274F-B1CF-5E05B3741284}" dt="2023-12-07T06:08:53.347" v="4730" actId="12"/>
          <ac:spMkLst>
            <pc:docMk/>
            <pc:sldMk cId="4044400470" sldId="341"/>
            <ac:spMk id="9" creationId="{9228C873-4358-71D9-7804-B597CC8C2B8C}"/>
          </ac:spMkLst>
        </pc:spChg>
        <pc:spChg chg="add del mod">
          <ac:chgData name="Jessy Hu" userId="f2d34ac4-8535-4a4b-87f4-a2602f82559e" providerId="ADAL" clId="{3768937E-7146-274F-B1CF-5E05B3741284}" dt="2023-12-06T22:58:11.264" v="3098" actId="478"/>
          <ac:spMkLst>
            <pc:docMk/>
            <pc:sldMk cId="4044400470" sldId="341"/>
            <ac:spMk id="10" creationId="{3A7D774C-A87A-76F1-2849-DDDD44B44956}"/>
          </ac:spMkLst>
        </pc:spChg>
        <pc:spChg chg="mod">
          <ac:chgData name="Jessy Hu" userId="f2d34ac4-8535-4a4b-87f4-a2602f82559e" providerId="ADAL" clId="{3768937E-7146-274F-B1CF-5E05B3741284}" dt="2023-12-06T22:58:25.590" v="3103" actId="207"/>
          <ac:spMkLst>
            <pc:docMk/>
            <pc:sldMk cId="4044400470" sldId="341"/>
            <ac:spMk id="12" creationId="{A1EFCBC8-1052-A54C-9AC1-529BDAD1ACE4}"/>
          </ac:spMkLst>
        </pc:spChg>
        <pc:spChg chg="mod">
          <ac:chgData name="Jessy Hu" userId="f2d34ac4-8535-4a4b-87f4-a2602f82559e" providerId="ADAL" clId="{3768937E-7146-274F-B1CF-5E05B3741284}" dt="2023-12-06T22:58:25.590" v="3103" actId="207"/>
          <ac:spMkLst>
            <pc:docMk/>
            <pc:sldMk cId="4044400470" sldId="341"/>
            <ac:spMk id="13" creationId="{A86984EB-4369-FA46-A426-786B240CF5B8}"/>
          </ac:spMkLst>
        </pc:spChg>
        <pc:spChg chg="mod">
          <ac:chgData name="Jessy Hu" userId="f2d34ac4-8535-4a4b-87f4-a2602f82559e" providerId="ADAL" clId="{3768937E-7146-274F-B1CF-5E05B3741284}" dt="2023-12-06T22:58:25.590" v="3103" actId="207"/>
          <ac:spMkLst>
            <pc:docMk/>
            <pc:sldMk cId="4044400470" sldId="341"/>
            <ac:spMk id="14" creationId="{B6FC8571-E381-7836-C6FF-82ED51A806C2}"/>
          </ac:spMkLst>
        </pc:spChg>
        <pc:spChg chg="mod">
          <ac:chgData name="Jessy Hu" userId="f2d34ac4-8535-4a4b-87f4-a2602f82559e" providerId="ADAL" clId="{3768937E-7146-274F-B1CF-5E05B3741284}" dt="2023-12-06T22:58:25.590" v="3103" actId="207"/>
          <ac:spMkLst>
            <pc:docMk/>
            <pc:sldMk cId="4044400470" sldId="341"/>
            <ac:spMk id="15" creationId="{04C3613E-3817-B183-807F-F167122150B6}"/>
          </ac:spMkLst>
        </pc:spChg>
        <pc:spChg chg="mod">
          <ac:chgData name="Jessy Hu" userId="f2d34ac4-8535-4a4b-87f4-a2602f82559e" providerId="ADAL" clId="{3768937E-7146-274F-B1CF-5E05B3741284}" dt="2023-12-06T22:58:25.590" v="3103" actId="207"/>
          <ac:spMkLst>
            <pc:docMk/>
            <pc:sldMk cId="4044400470" sldId="341"/>
            <ac:spMk id="16" creationId="{72F3E8F1-4FD8-3518-1C85-0332E3205D9F}"/>
          </ac:spMkLst>
        </pc:spChg>
        <pc:spChg chg="mod">
          <ac:chgData name="Jessy Hu" userId="f2d34ac4-8535-4a4b-87f4-a2602f82559e" providerId="ADAL" clId="{3768937E-7146-274F-B1CF-5E05B3741284}" dt="2023-12-06T22:58:25.590" v="3103" actId="207"/>
          <ac:spMkLst>
            <pc:docMk/>
            <pc:sldMk cId="4044400470" sldId="341"/>
            <ac:spMk id="17" creationId="{E9C4DB82-6C91-E4BC-4C1C-15F40C54CBA3}"/>
          </ac:spMkLst>
        </pc:spChg>
        <pc:spChg chg="mod">
          <ac:chgData name="Jessy Hu" userId="f2d34ac4-8535-4a4b-87f4-a2602f82559e" providerId="ADAL" clId="{3768937E-7146-274F-B1CF-5E05B3741284}" dt="2023-12-06T22:58:30.248" v="3104" actId="207"/>
          <ac:spMkLst>
            <pc:docMk/>
            <pc:sldMk cId="4044400470" sldId="341"/>
            <ac:spMk id="19" creationId="{58D0AE8E-20F3-3D13-3A7E-28B8E6D595D4}"/>
          </ac:spMkLst>
        </pc:spChg>
        <pc:spChg chg="mod">
          <ac:chgData name="Jessy Hu" userId="f2d34ac4-8535-4a4b-87f4-a2602f82559e" providerId="ADAL" clId="{3768937E-7146-274F-B1CF-5E05B3741284}" dt="2023-12-06T22:58:30.248" v="3104" actId="207"/>
          <ac:spMkLst>
            <pc:docMk/>
            <pc:sldMk cId="4044400470" sldId="341"/>
            <ac:spMk id="20" creationId="{2E84DAE2-7CE4-F7EB-49AE-73EC0D315B97}"/>
          </ac:spMkLst>
        </pc:spChg>
        <pc:grpChg chg="add mod">
          <ac:chgData name="Jessy Hu" userId="f2d34ac4-8535-4a4b-87f4-a2602f82559e" providerId="ADAL" clId="{3768937E-7146-274F-B1CF-5E05B3741284}" dt="2023-12-06T22:58:25.590" v="3103" actId="207"/>
          <ac:grpSpMkLst>
            <pc:docMk/>
            <pc:sldMk cId="4044400470" sldId="341"/>
            <ac:grpSpMk id="11" creationId="{F2D17334-B704-438F-319C-9566B33F7543}"/>
          </ac:grpSpMkLst>
        </pc:grpChg>
        <pc:grpChg chg="add mod">
          <ac:chgData name="Jessy Hu" userId="f2d34ac4-8535-4a4b-87f4-a2602f82559e" providerId="ADAL" clId="{3768937E-7146-274F-B1CF-5E05B3741284}" dt="2023-12-06T22:58:30.248" v="3104" actId="207"/>
          <ac:grpSpMkLst>
            <pc:docMk/>
            <pc:sldMk cId="4044400470" sldId="341"/>
            <ac:grpSpMk id="18" creationId="{D420AC31-B9FA-2FB3-38F5-35B96B5DE9A6}"/>
          </ac:grpSpMkLst>
        </pc:grpChg>
        <pc:picChg chg="add mod">
          <ac:chgData name="Jessy Hu" userId="f2d34ac4-8535-4a4b-87f4-a2602f82559e" providerId="ADAL" clId="{3768937E-7146-274F-B1CF-5E05B3741284}" dt="2023-12-06T22:57:38.088" v="3087" actId="1076"/>
          <ac:picMkLst>
            <pc:docMk/>
            <pc:sldMk cId="4044400470" sldId="341"/>
            <ac:picMk id="6" creationId="{97BAB131-D321-9CB3-075C-44FEDBAAD417}"/>
          </ac:picMkLst>
        </pc:picChg>
      </pc:sldChg>
      <pc:sldChg chg="addSp delSp modSp new del mod modNotes">
        <pc:chgData name="Jessy Hu" userId="f2d34ac4-8535-4a4b-87f4-a2602f82559e" providerId="ADAL" clId="{3768937E-7146-274F-B1CF-5E05B3741284}" dt="2023-12-08T00:40:00.388" v="4890"/>
        <pc:sldMkLst>
          <pc:docMk/>
          <pc:sldMk cId="2812790550" sldId="342"/>
        </pc:sldMkLst>
        <pc:spChg chg="add del mod">
          <ac:chgData name="Jessy Hu" userId="f2d34ac4-8535-4a4b-87f4-a2602f82559e" providerId="ADAL" clId="{3768937E-7146-274F-B1CF-5E05B3741284}" dt="2023-12-07T21:43:47.325" v="4754"/>
          <ac:spMkLst>
            <pc:docMk/>
            <pc:sldMk cId="2812790550" sldId="342"/>
            <ac:spMk id="2" creationId="{9F89DF54-4DEC-3217-35C3-3F79EDB22AC8}"/>
          </ac:spMkLst>
        </pc:spChg>
        <pc:spChg chg="del">
          <ac:chgData name="Jessy Hu" userId="f2d34ac4-8535-4a4b-87f4-a2602f82559e" providerId="ADAL" clId="{3768937E-7146-274F-B1CF-5E05B3741284}" dt="2023-12-06T23:06:04.752" v="3110" actId="478"/>
          <ac:spMkLst>
            <pc:docMk/>
            <pc:sldMk cId="2812790550" sldId="342"/>
            <ac:spMk id="2" creationId="{BFF41977-8CF4-44F5-6A7D-1E4F68B593D5}"/>
          </ac:spMkLst>
        </pc:spChg>
        <pc:spChg chg="del">
          <ac:chgData name="Jessy Hu" userId="f2d34ac4-8535-4a4b-87f4-a2602f82559e" providerId="ADAL" clId="{3768937E-7146-274F-B1CF-5E05B3741284}" dt="2023-12-06T23:06:04.752" v="3110" actId="478"/>
          <ac:spMkLst>
            <pc:docMk/>
            <pc:sldMk cId="2812790550" sldId="342"/>
            <ac:spMk id="3" creationId="{889A732B-236C-413B-DA8F-243ED27CF45F}"/>
          </ac:spMkLst>
        </pc:spChg>
        <pc:spChg chg="del">
          <ac:chgData name="Jessy Hu" userId="f2d34ac4-8535-4a4b-87f4-a2602f82559e" providerId="ADAL" clId="{3768937E-7146-274F-B1CF-5E05B3741284}" dt="2023-12-06T23:06:04.752" v="3110" actId="478"/>
          <ac:spMkLst>
            <pc:docMk/>
            <pc:sldMk cId="2812790550" sldId="342"/>
            <ac:spMk id="4" creationId="{1E7B4F95-8BE2-8AEC-6A8B-A23A2E6FCBE6}"/>
          </ac:spMkLst>
        </pc:spChg>
        <pc:spChg chg="add del">
          <ac:chgData name="Jessy Hu" userId="f2d34ac4-8535-4a4b-87f4-a2602f82559e" providerId="ADAL" clId="{3768937E-7146-274F-B1CF-5E05B3741284}" dt="2023-12-06T23:06:07.403" v="3112" actId="22"/>
          <ac:spMkLst>
            <pc:docMk/>
            <pc:sldMk cId="2812790550" sldId="342"/>
            <ac:spMk id="6" creationId="{55A09CEA-F023-0489-B83A-019AD782B018}"/>
          </ac:spMkLst>
        </pc:spChg>
        <pc:spChg chg="mod">
          <ac:chgData name="Jessy Hu" userId="f2d34ac4-8535-4a4b-87f4-a2602f82559e" providerId="ADAL" clId="{3768937E-7146-274F-B1CF-5E05B3741284}" dt="2023-12-08T00:40:00.388" v="4890"/>
          <ac:spMkLst>
            <pc:docMk/>
            <pc:sldMk cId="2812790550" sldId="342"/>
            <ac:spMk id="14" creationId="{95411A96-5FAC-9F1C-553E-EF7C062C0450}"/>
          </ac:spMkLst>
        </pc:spChg>
        <pc:spChg chg="mod">
          <ac:chgData name="Jessy Hu" userId="f2d34ac4-8535-4a4b-87f4-a2602f82559e" providerId="ADAL" clId="{3768937E-7146-274F-B1CF-5E05B3741284}" dt="2023-12-08T00:40:00.388" v="4890"/>
          <ac:spMkLst>
            <pc:docMk/>
            <pc:sldMk cId="2812790550" sldId="342"/>
            <ac:spMk id="16" creationId="{749224F8-668C-4645-32EB-CE727B0EBE55}"/>
          </ac:spMkLst>
        </pc:spChg>
        <pc:spChg chg="mod">
          <ac:chgData name="Jessy Hu" userId="f2d34ac4-8535-4a4b-87f4-a2602f82559e" providerId="ADAL" clId="{3768937E-7146-274F-B1CF-5E05B3741284}" dt="2023-12-08T00:40:00.388" v="4890"/>
          <ac:spMkLst>
            <pc:docMk/>
            <pc:sldMk cId="2812790550" sldId="342"/>
            <ac:spMk id="18" creationId="{ECB52FA3-A2D2-FBB0-1871-C93CC9F36AE1}"/>
          </ac:spMkLst>
        </pc:spChg>
        <pc:spChg chg="mod">
          <ac:chgData name="Jessy Hu" userId="f2d34ac4-8535-4a4b-87f4-a2602f82559e" providerId="ADAL" clId="{3768937E-7146-274F-B1CF-5E05B3741284}" dt="2023-12-08T00:40:00.388" v="4890"/>
          <ac:spMkLst>
            <pc:docMk/>
            <pc:sldMk cId="2812790550" sldId="342"/>
            <ac:spMk id="20" creationId="{08B15D46-83D2-CC19-D72B-377178CEA3CC}"/>
          </ac:spMkLst>
        </pc:spChg>
        <pc:spChg chg="mod">
          <ac:chgData name="Jessy Hu" userId="f2d34ac4-8535-4a4b-87f4-a2602f82559e" providerId="ADAL" clId="{3768937E-7146-274F-B1CF-5E05B3741284}" dt="2023-12-08T00:40:00.388" v="4890"/>
          <ac:spMkLst>
            <pc:docMk/>
            <pc:sldMk cId="2812790550" sldId="342"/>
            <ac:spMk id="22" creationId="{5739A2B6-786D-58A3-CECC-A8692D93CC6D}"/>
          </ac:spMkLst>
        </pc:spChg>
        <pc:spChg chg="mod">
          <ac:chgData name="Jessy Hu" userId="f2d34ac4-8535-4a4b-87f4-a2602f82559e" providerId="ADAL" clId="{3768937E-7146-274F-B1CF-5E05B3741284}" dt="2023-12-08T00:40:00.388" v="4890"/>
          <ac:spMkLst>
            <pc:docMk/>
            <pc:sldMk cId="2812790550" sldId="342"/>
            <ac:spMk id="24" creationId="{48CB4006-4825-AC17-AA7F-CE69994EF635}"/>
          </ac:spMkLst>
        </pc:spChg>
        <pc:spChg chg="mod">
          <ac:chgData name="Jessy Hu" userId="f2d34ac4-8535-4a4b-87f4-a2602f82559e" providerId="ADAL" clId="{3768937E-7146-274F-B1CF-5E05B3741284}" dt="2023-12-08T00:40:00.388" v="4890"/>
          <ac:spMkLst>
            <pc:docMk/>
            <pc:sldMk cId="2812790550" sldId="342"/>
            <ac:spMk id="26" creationId="{4CA9A8A8-B9A1-5E0D-E200-1D565CE579D4}"/>
          </ac:spMkLst>
        </pc:spChg>
        <pc:spChg chg="mod">
          <ac:chgData name="Jessy Hu" userId="f2d34ac4-8535-4a4b-87f4-a2602f82559e" providerId="ADAL" clId="{3768937E-7146-274F-B1CF-5E05B3741284}" dt="2023-12-08T00:40:00.388" v="4890"/>
          <ac:spMkLst>
            <pc:docMk/>
            <pc:sldMk cId="2812790550" sldId="342"/>
            <ac:spMk id="28" creationId="{B6799980-EBBF-647E-E986-E36454F02BAC}"/>
          </ac:spMkLst>
        </pc:spChg>
        <pc:spChg chg="mod">
          <ac:chgData name="Jessy Hu" userId="f2d34ac4-8535-4a4b-87f4-a2602f82559e" providerId="ADAL" clId="{3768937E-7146-274F-B1CF-5E05B3741284}" dt="2023-12-06T23:20:12.853" v="4097" actId="207"/>
          <ac:spMkLst>
            <pc:docMk/>
            <pc:sldMk cId="2812790550" sldId="342"/>
            <ac:spMk id="30" creationId="{B82AADE5-3CBA-4596-3CEA-AD90D445D9EF}"/>
          </ac:spMkLst>
        </pc:spChg>
        <pc:spChg chg="mod">
          <ac:chgData name="Jessy Hu" userId="f2d34ac4-8535-4a4b-87f4-a2602f82559e" providerId="ADAL" clId="{3768937E-7146-274F-B1CF-5E05B3741284}" dt="2023-12-06T23:20:12.853" v="4097" actId="207"/>
          <ac:spMkLst>
            <pc:docMk/>
            <pc:sldMk cId="2812790550" sldId="342"/>
            <ac:spMk id="31" creationId="{37F7C0F3-4664-E680-2B92-DF90CB06A386}"/>
          </ac:spMkLst>
        </pc:spChg>
        <pc:spChg chg="mod">
          <ac:chgData name="Jessy Hu" userId="f2d34ac4-8535-4a4b-87f4-a2602f82559e" providerId="ADAL" clId="{3768937E-7146-274F-B1CF-5E05B3741284}" dt="2023-12-06T23:20:12.853" v="4097" actId="207"/>
          <ac:spMkLst>
            <pc:docMk/>
            <pc:sldMk cId="2812790550" sldId="342"/>
            <ac:spMk id="32" creationId="{2C0E8B55-F27D-6489-8156-C7C62EDBB827}"/>
          </ac:spMkLst>
        </pc:spChg>
        <pc:spChg chg="mod">
          <ac:chgData name="Jessy Hu" userId="f2d34ac4-8535-4a4b-87f4-a2602f82559e" providerId="ADAL" clId="{3768937E-7146-274F-B1CF-5E05B3741284}" dt="2023-12-06T23:20:12.853" v="4097" actId="207"/>
          <ac:spMkLst>
            <pc:docMk/>
            <pc:sldMk cId="2812790550" sldId="342"/>
            <ac:spMk id="33" creationId="{427BD585-C34F-A13C-A681-227437420669}"/>
          </ac:spMkLst>
        </pc:spChg>
        <pc:spChg chg="mod">
          <ac:chgData name="Jessy Hu" userId="f2d34ac4-8535-4a4b-87f4-a2602f82559e" providerId="ADAL" clId="{3768937E-7146-274F-B1CF-5E05B3741284}" dt="2023-12-06T23:20:12.853" v="4097" actId="207"/>
          <ac:spMkLst>
            <pc:docMk/>
            <pc:sldMk cId="2812790550" sldId="342"/>
            <ac:spMk id="34" creationId="{6236DA8E-7056-9C11-795A-4B51EB04A2EA}"/>
          </ac:spMkLst>
        </pc:spChg>
        <pc:spChg chg="mod">
          <ac:chgData name="Jessy Hu" userId="f2d34ac4-8535-4a4b-87f4-a2602f82559e" providerId="ADAL" clId="{3768937E-7146-274F-B1CF-5E05B3741284}" dt="2023-12-06T23:20:12.853" v="4097" actId="207"/>
          <ac:spMkLst>
            <pc:docMk/>
            <pc:sldMk cId="2812790550" sldId="342"/>
            <ac:spMk id="35" creationId="{44B12B27-5342-00B6-E42F-991372F1F16B}"/>
          </ac:spMkLst>
        </pc:spChg>
        <pc:spChg chg="add mod">
          <ac:chgData name="Jessy Hu" userId="f2d34ac4-8535-4a4b-87f4-a2602f82559e" providerId="ADAL" clId="{3768937E-7146-274F-B1CF-5E05B3741284}" dt="2023-12-08T00:40:00.388" v="4890"/>
          <ac:spMkLst>
            <pc:docMk/>
            <pc:sldMk cId="2812790550" sldId="342"/>
            <ac:spMk id="36" creationId="{DD54D1C0-9C48-B409-6CA3-C007DCC3FC9A}"/>
          </ac:spMkLst>
        </pc:spChg>
        <pc:spChg chg="add mod">
          <ac:chgData name="Jessy Hu" userId="f2d34ac4-8535-4a4b-87f4-a2602f82559e" providerId="ADAL" clId="{3768937E-7146-274F-B1CF-5E05B3741284}" dt="2023-12-06T23:21:36.751" v="4164" actId="692"/>
          <ac:spMkLst>
            <pc:docMk/>
            <pc:sldMk cId="2812790550" sldId="342"/>
            <ac:spMk id="37" creationId="{B9098490-0A7D-EA50-997F-042CE2289B4C}"/>
          </ac:spMkLst>
        </pc:spChg>
        <pc:spChg chg="add mod">
          <ac:chgData name="Jessy Hu" userId="f2d34ac4-8535-4a4b-87f4-a2602f82559e" providerId="ADAL" clId="{3768937E-7146-274F-B1CF-5E05B3741284}" dt="2023-12-06T23:22:03.880" v="4173" actId="1076"/>
          <ac:spMkLst>
            <pc:docMk/>
            <pc:sldMk cId="2812790550" sldId="342"/>
            <ac:spMk id="38" creationId="{7C400913-D6C0-B325-320E-E8900D615D00}"/>
          </ac:spMkLst>
        </pc:spChg>
        <pc:spChg chg="add mod">
          <ac:chgData name="Jessy Hu" userId="f2d34ac4-8535-4a4b-87f4-a2602f82559e" providerId="ADAL" clId="{3768937E-7146-274F-B1CF-5E05B3741284}" dt="2023-12-06T23:24:57.474" v="4229" actId="1076"/>
          <ac:spMkLst>
            <pc:docMk/>
            <pc:sldMk cId="2812790550" sldId="342"/>
            <ac:spMk id="39" creationId="{53388141-E320-E0B4-63F3-B410F5520629}"/>
          </ac:spMkLst>
        </pc:spChg>
        <pc:grpChg chg="add mod">
          <ac:chgData name="Jessy Hu" userId="f2d34ac4-8535-4a4b-87f4-a2602f82559e" providerId="ADAL" clId="{3768937E-7146-274F-B1CF-5E05B3741284}" dt="2023-12-08T00:40:00.388" v="4890"/>
          <ac:grpSpMkLst>
            <pc:docMk/>
            <pc:sldMk cId="2812790550" sldId="342"/>
            <ac:grpSpMk id="7" creationId="{179B9C2E-A024-4620-97DB-BD3545F2339F}"/>
          </ac:grpSpMkLst>
        </pc:grpChg>
        <pc:grpChg chg="mod">
          <ac:chgData name="Jessy Hu" userId="f2d34ac4-8535-4a4b-87f4-a2602f82559e" providerId="ADAL" clId="{3768937E-7146-274F-B1CF-5E05B3741284}" dt="2023-12-08T00:40:00.388" v="4890"/>
          <ac:grpSpMkLst>
            <pc:docMk/>
            <pc:sldMk cId="2812790550" sldId="342"/>
            <ac:grpSpMk id="9" creationId="{8C5EAF20-54F0-0219-A896-5D8F13140CFE}"/>
          </ac:grpSpMkLst>
        </pc:grpChg>
        <pc:grpChg chg="mod">
          <ac:chgData name="Jessy Hu" userId="f2d34ac4-8535-4a4b-87f4-a2602f82559e" providerId="ADAL" clId="{3768937E-7146-274F-B1CF-5E05B3741284}" dt="2023-12-08T00:40:00.388" v="4890"/>
          <ac:grpSpMkLst>
            <pc:docMk/>
            <pc:sldMk cId="2812790550" sldId="342"/>
            <ac:grpSpMk id="10" creationId="{B3FD4F65-7462-A366-8B2B-C517FC350F30}"/>
          </ac:grpSpMkLst>
        </pc:grpChg>
        <pc:grpChg chg="mod">
          <ac:chgData name="Jessy Hu" userId="f2d34ac4-8535-4a4b-87f4-a2602f82559e" providerId="ADAL" clId="{3768937E-7146-274F-B1CF-5E05B3741284}" dt="2023-12-08T00:40:00.388" v="4890"/>
          <ac:grpSpMkLst>
            <pc:docMk/>
            <pc:sldMk cId="2812790550" sldId="342"/>
            <ac:grpSpMk id="11" creationId="{0515BF4A-F746-F7A6-FC99-E598CDA834BB}"/>
          </ac:grpSpMkLst>
        </pc:grpChg>
        <pc:grpChg chg="mod">
          <ac:chgData name="Jessy Hu" userId="f2d34ac4-8535-4a4b-87f4-a2602f82559e" providerId="ADAL" clId="{3768937E-7146-274F-B1CF-5E05B3741284}" dt="2023-12-08T00:40:00.388" v="4890"/>
          <ac:grpSpMkLst>
            <pc:docMk/>
            <pc:sldMk cId="2812790550" sldId="342"/>
            <ac:grpSpMk id="12" creationId="{6FE097CC-3C48-0F4E-79D4-7D8A1F6A8A05}"/>
          </ac:grpSpMkLst>
        </pc:grpChg>
        <pc:grpChg chg="mod">
          <ac:chgData name="Jessy Hu" userId="f2d34ac4-8535-4a4b-87f4-a2602f82559e" providerId="ADAL" clId="{3768937E-7146-274F-B1CF-5E05B3741284}" dt="2023-12-08T00:40:00.388" v="4890"/>
          <ac:grpSpMkLst>
            <pc:docMk/>
            <pc:sldMk cId="2812790550" sldId="342"/>
            <ac:grpSpMk id="13" creationId="{F2719E60-2AEB-FFB1-7BF8-ACE5337FECD6}"/>
          </ac:grpSpMkLst>
        </pc:grpChg>
        <pc:grpChg chg="mod">
          <ac:chgData name="Jessy Hu" userId="f2d34ac4-8535-4a4b-87f4-a2602f82559e" providerId="ADAL" clId="{3768937E-7146-274F-B1CF-5E05B3741284}" dt="2023-12-08T00:40:00.388" v="4890"/>
          <ac:grpSpMkLst>
            <pc:docMk/>
            <pc:sldMk cId="2812790550" sldId="342"/>
            <ac:grpSpMk id="17" creationId="{BBEC8B4E-5060-1588-680C-68D700668997}"/>
          </ac:grpSpMkLst>
        </pc:grpChg>
        <pc:grpChg chg="mod">
          <ac:chgData name="Jessy Hu" userId="f2d34ac4-8535-4a4b-87f4-a2602f82559e" providerId="ADAL" clId="{3768937E-7146-274F-B1CF-5E05B3741284}" dt="2023-12-08T00:40:00.388" v="4890"/>
          <ac:grpSpMkLst>
            <pc:docMk/>
            <pc:sldMk cId="2812790550" sldId="342"/>
            <ac:grpSpMk id="21" creationId="{E7451A37-28B6-2915-1DA5-2FE690E11EF3}"/>
          </ac:grpSpMkLst>
        </pc:grpChg>
        <pc:grpChg chg="mod">
          <ac:chgData name="Jessy Hu" userId="f2d34ac4-8535-4a4b-87f4-a2602f82559e" providerId="ADAL" clId="{3768937E-7146-274F-B1CF-5E05B3741284}" dt="2023-12-08T00:40:00.388" v="4890"/>
          <ac:grpSpMkLst>
            <pc:docMk/>
            <pc:sldMk cId="2812790550" sldId="342"/>
            <ac:grpSpMk id="25" creationId="{4FD530C0-1A23-F53B-AA95-2CBF33296476}"/>
          </ac:grpSpMkLst>
        </pc:grpChg>
        <pc:grpChg chg="add mod">
          <ac:chgData name="Jessy Hu" userId="f2d34ac4-8535-4a4b-87f4-a2602f82559e" providerId="ADAL" clId="{3768937E-7146-274F-B1CF-5E05B3741284}" dt="2023-12-06T23:20:12.853" v="4097" actId="207"/>
          <ac:grpSpMkLst>
            <pc:docMk/>
            <pc:sldMk cId="2812790550" sldId="342"/>
            <ac:grpSpMk id="29" creationId="{AF590571-A89A-6CEC-7E33-F11E02840B3E}"/>
          </ac:grpSpMkLst>
        </pc:grpChg>
        <pc:cxnChg chg="mod">
          <ac:chgData name="Jessy Hu" userId="f2d34ac4-8535-4a4b-87f4-a2602f82559e" providerId="ADAL" clId="{3768937E-7146-274F-B1CF-5E05B3741284}" dt="2023-12-08T00:40:00.388" v="4890"/>
          <ac:cxnSpMkLst>
            <pc:docMk/>
            <pc:sldMk cId="2812790550" sldId="342"/>
            <ac:cxnSpMk id="8" creationId="{769507D3-A3B2-D2F8-7EFF-20EF75520C53}"/>
          </ac:cxnSpMkLst>
        </pc:cxnChg>
        <pc:cxnChg chg="mod">
          <ac:chgData name="Jessy Hu" userId="f2d34ac4-8535-4a4b-87f4-a2602f82559e" providerId="ADAL" clId="{3768937E-7146-274F-B1CF-5E05B3741284}" dt="2023-12-08T00:40:00.388" v="4890"/>
          <ac:cxnSpMkLst>
            <pc:docMk/>
            <pc:sldMk cId="2812790550" sldId="342"/>
            <ac:cxnSpMk id="15" creationId="{00854A6D-60EB-5267-7DDE-CEF7FA09B316}"/>
          </ac:cxnSpMkLst>
        </pc:cxnChg>
        <pc:cxnChg chg="mod">
          <ac:chgData name="Jessy Hu" userId="f2d34ac4-8535-4a4b-87f4-a2602f82559e" providerId="ADAL" clId="{3768937E-7146-274F-B1CF-5E05B3741284}" dt="2023-12-08T00:40:00.388" v="4890"/>
          <ac:cxnSpMkLst>
            <pc:docMk/>
            <pc:sldMk cId="2812790550" sldId="342"/>
            <ac:cxnSpMk id="19" creationId="{083A7C8B-E2E3-2B27-C08A-FCD4C9E09AF0}"/>
          </ac:cxnSpMkLst>
        </pc:cxnChg>
        <pc:cxnChg chg="mod">
          <ac:chgData name="Jessy Hu" userId="f2d34ac4-8535-4a4b-87f4-a2602f82559e" providerId="ADAL" clId="{3768937E-7146-274F-B1CF-5E05B3741284}" dt="2023-12-08T00:40:00.388" v="4890"/>
          <ac:cxnSpMkLst>
            <pc:docMk/>
            <pc:sldMk cId="2812790550" sldId="342"/>
            <ac:cxnSpMk id="23" creationId="{FB5FFDF0-2BCF-C9D5-7BF4-F64369080502}"/>
          </ac:cxnSpMkLst>
        </pc:cxnChg>
        <pc:cxnChg chg="mod">
          <ac:chgData name="Jessy Hu" userId="f2d34ac4-8535-4a4b-87f4-a2602f82559e" providerId="ADAL" clId="{3768937E-7146-274F-B1CF-5E05B3741284}" dt="2023-12-08T00:40:00.388" v="4890"/>
          <ac:cxnSpMkLst>
            <pc:docMk/>
            <pc:sldMk cId="2812790550" sldId="342"/>
            <ac:cxnSpMk id="27" creationId="{FF4B82D7-ACE9-096B-C7AF-DE39B68A8CEE}"/>
          </ac:cxnSpMkLst>
        </pc:cxnChg>
      </pc:sldChg>
      <pc:sldChg chg="addSp delSp modSp new mod">
        <pc:chgData name="Jessy Hu" userId="f2d34ac4-8535-4a4b-87f4-a2602f82559e" providerId="ADAL" clId="{3768937E-7146-274F-B1CF-5E05B3741284}" dt="2023-12-06T23:26:03.316" v="4263" actId="1076"/>
        <pc:sldMkLst>
          <pc:docMk/>
          <pc:sldMk cId="2019717904" sldId="343"/>
        </pc:sldMkLst>
        <pc:spChg chg="del">
          <ac:chgData name="Jessy Hu" userId="f2d34ac4-8535-4a4b-87f4-a2602f82559e" providerId="ADAL" clId="{3768937E-7146-274F-B1CF-5E05B3741284}" dt="2023-12-06T23:25:39.643" v="4231" actId="478"/>
          <ac:spMkLst>
            <pc:docMk/>
            <pc:sldMk cId="2019717904" sldId="343"/>
            <ac:spMk id="2" creationId="{97A121B8-6493-8347-AAA5-1DF7F36622EB}"/>
          </ac:spMkLst>
        </pc:spChg>
        <pc:spChg chg="del">
          <ac:chgData name="Jessy Hu" userId="f2d34ac4-8535-4a4b-87f4-a2602f82559e" providerId="ADAL" clId="{3768937E-7146-274F-B1CF-5E05B3741284}" dt="2023-12-06T23:25:39.643" v="4231" actId="478"/>
          <ac:spMkLst>
            <pc:docMk/>
            <pc:sldMk cId="2019717904" sldId="343"/>
            <ac:spMk id="3" creationId="{9429160A-AF8D-BADF-8A66-05C0F4BDA518}"/>
          </ac:spMkLst>
        </pc:spChg>
        <pc:spChg chg="del">
          <ac:chgData name="Jessy Hu" userId="f2d34ac4-8535-4a4b-87f4-a2602f82559e" providerId="ADAL" clId="{3768937E-7146-274F-B1CF-5E05B3741284}" dt="2023-12-06T23:25:39.643" v="4231" actId="478"/>
          <ac:spMkLst>
            <pc:docMk/>
            <pc:sldMk cId="2019717904" sldId="343"/>
            <ac:spMk id="4" creationId="{2BF38FF0-79E4-1689-6E19-16D1B56303CC}"/>
          </ac:spMkLst>
        </pc:spChg>
        <pc:spChg chg="add mod">
          <ac:chgData name="Jessy Hu" userId="f2d34ac4-8535-4a4b-87f4-a2602f82559e" providerId="ADAL" clId="{3768937E-7146-274F-B1CF-5E05B3741284}" dt="2023-12-06T23:26:03.316" v="4263" actId="1076"/>
          <ac:spMkLst>
            <pc:docMk/>
            <pc:sldMk cId="2019717904" sldId="343"/>
            <ac:spMk id="6" creationId="{D0CF1651-3A20-A1A0-8FB9-FC34818B9E48}"/>
          </ac:spMkLst>
        </pc:spChg>
        <pc:picChg chg="add mod">
          <ac:chgData name="Jessy Hu" userId="f2d34ac4-8535-4a4b-87f4-a2602f82559e" providerId="ADAL" clId="{3768937E-7146-274F-B1CF-5E05B3741284}" dt="2023-12-06T23:25:40.039" v="4232"/>
          <ac:picMkLst>
            <pc:docMk/>
            <pc:sldMk cId="2019717904" sldId="343"/>
            <ac:picMk id="5" creationId="{EE9EFA9E-573B-33FC-B82D-A40441A48B4C}"/>
          </ac:picMkLst>
        </pc:picChg>
      </pc:sldChg>
      <pc:sldChg chg="addSp delSp modSp">
        <pc:chgData name="Jessy Hu" userId="f2d34ac4-8535-4a4b-87f4-a2602f82559e" providerId="ADAL" clId="{3768937E-7146-274F-B1CF-5E05B3741284}" dt="2023-12-07T07:57:12.649" v="4739" actId="478"/>
        <pc:sldMkLst>
          <pc:docMk/>
          <pc:sldMk cId="364185782" sldId="344"/>
        </pc:sldMkLst>
        <pc:picChg chg="add del mod">
          <ac:chgData name="Jessy Hu" userId="f2d34ac4-8535-4a4b-87f4-a2602f82559e" providerId="ADAL" clId="{3768937E-7146-274F-B1CF-5E05B3741284}" dt="2023-12-07T07:57:12.649" v="4739" actId="478"/>
          <ac:picMkLst>
            <pc:docMk/>
            <pc:sldMk cId="364185782" sldId="344"/>
            <ac:picMk id="3" creationId="{447D3490-C709-56CE-F54C-1BD54E63577C}"/>
          </ac:picMkLst>
        </pc:picChg>
      </pc:sldChg>
      <pc:sldChg chg="new del">
        <pc:chgData name="Jessy Hu" userId="f2d34ac4-8535-4a4b-87f4-a2602f82559e" providerId="ADAL" clId="{3768937E-7146-274F-B1CF-5E05B3741284}" dt="2023-12-07T06:03:44.285" v="4305" actId="2696"/>
        <pc:sldMkLst>
          <pc:docMk/>
          <pc:sldMk cId="580436026" sldId="345"/>
        </pc:sldMkLst>
      </pc:sldChg>
      <pc:sldChg chg="addSp delSp modSp new mod">
        <pc:chgData name="Jessy Hu" userId="f2d34ac4-8535-4a4b-87f4-a2602f82559e" providerId="ADAL" clId="{3768937E-7146-274F-B1CF-5E05B3741284}" dt="2023-12-07T06:08:36.124" v="4728" actId="12"/>
        <pc:sldMkLst>
          <pc:docMk/>
          <pc:sldMk cId="2336100853" sldId="345"/>
        </pc:sldMkLst>
        <pc:spChg chg="del">
          <ac:chgData name="Jessy Hu" userId="f2d34ac4-8535-4a4b-87f4-a2602f82559e" providerId="ADAL" clId="{3768937E-7146-274F-B1CF-5E05B3741284}" dt="2023-12-07T06:03:57.637" v="4307" actId="478"/>
          <ac:spMkLst>
            <pc:docMk/>
            <pc:sldMk cId="2336100853" sldId="345"/>
            <ac:spMk id="2" creationId="{4A48D940-0627-B626-373C-579062B6A905}"/>
          </ac:spMkLst>
        </pc:spChg>
        <pc:spChg chg="del">
          <ac:chgData name="Jessy Hu" userId="f2d34ac4-8535-4a4b-87f4-a2602f82559e" providerId="ADAL" clId="{3768937E-7146-274F-B1CF-5E05B3741284}" dt="2023-12-07T06:03:57.637" v="4307" actId="478"/>
          <ac:spMkLst>
            <pc:docMk/>
            <pc:sldMk cId="2336100853" sldId="345"/>
            <ac:spMk id="3" creationId="{E8194666-3826-AD18-CCAE-A4C505473EAC}"/>
          </ac:spMkLst>
        </pc:spChg>
        <pc:spChg chg="del">
          <ac:chgData name="Jessy Hu" userId="f2d34ac4-8535-4a4b-87f4-a2602f82559e" providerId="ADAL" clId="{3768937E-7146-274F-B1CF-5E05B3741284}" dt="2023-12-07T06:03:57.637" v="4307" actId="478"/>
          <ac:spMkLst>
            <pc:docMk/>
            <pc:sldMk cId="2336100853" sldId="345"/>
            <ac:spMk id="4" creationId="{6B34C2B7-767D-684D-6F46-11896F815BFC}"/>
          </ac:spMkLst>
        </pc:spChg>
        <pc:spChg chg="add mod">
          <ac:chgData name="Jessy Hu" userId="f2d34ac4-8535-4a4b-87f4-a2602f82559e" providerId="ADAL" clId="{3768937E-7146-274F-B1CF-5E05B3741284}" dt="2023-12-07T06:08:03.716" v="4722" actId="14100"/>
          <ac:spMkLst>
            <pc:docMk/>
            <pc:sldMk cId="2336100853" sldId="345"/>
            <ac:spMk id="5" creationId="{DE13A1B2-4812-497E-2209-31C4BC0719BF}"/>
          </ac:spMkLst>
        </pc:spChg>
        <pc:spChg chg="add del mod">
          <ac:chgData name="Jessy Hu" userId="f2d34ac4-8535-4a4b-87f4-a2602f82559e" providerId="ADAL" clId="{3768937E-7146-274F-B1CF-5E05B3741284}" dt="2023-12-07T06:04:45.138" v="4332"/>
          <ac:spMkLst>
            <pc:docMk/>
            <pc:sldMk cId="2336100853" sldId="345"/>
            <ac:spMk id="6" creationId="{796E73A5-0F76-4503-DF02-2B973453CD07}"/>
          </ac:spMkLst>
        </pc:spChg>
        <pc:spChg chg="add mod">
          <ac:chgData name="Jessy Hu" userId="f2d34ac4-8535-4a4b-87f4-a2602f82559e" providerId="ADAL" clId="{3768937E-7146-274F-B1CF-5E05B3741284}" dt="2023-12-07T06:08:36.124" v="4728" actId="12"/>
          <ac:spMkLst>
            <pc:docMk/>
            <pc:sldMk cId="2336100853" sldId="345"/>
            <ac:spMk id="7" creationId="{E809E35E-5CB0-FA81-87CA-6051C8E1716C}"/>
          </ac:spMkLst>
        </pc:spChg>
      </pc:sldChg>
      <pc:sldChg chg="add">
        <pc:chgData name="Jessy Hu" userId="f2d34ac4-8535-4a4b-87f4-a2602f82559e" providerId="ADAL" clId="{3768937E-7146-274F-B1CF-5E05B3741284}" dt="2023-12-08T00:39:58.647" v="4888"/>
        <pc:sldMkLst>
          <pc:docMk/>
          <pc:sldMk cId="3919526538" sldId="348"/>
        </pc:sldMkLst>
      </pc:sldChg>
      <pc:sldChg chg="addSp delSp modSp add mod">
        <pc:chgData name="Jessy Hu" userId="f2d34ac4-8535-4a4b-87f4-a2602f82559e" providerId="ADAL" clId="{3768937E-7146-274F-B1CF-5E05B3741284}" dt="2023-12-08T23:04:34.251" v="5185" actId="122"/>
        <pc:sldMkLst>
          <pc:docMk/>
          <pc:sldMk cId="259811885" sldId="349"/>
        </pc:sldMkLst>
        <pc:spChg chg="add del mod">
          <ac:chgData name="Jessy Hu" userId="f2d34ac4-8535-4a4b-87f4-a2602f82559e" providerId="ADAL" clId="{3768937E-7146-274F-B1CF-5E05B3741284}" dt="2023-12-08T00:56:21.792" v="4910" actId="478"/>
          <ac:spMkLst>
            <pc:docMk/>
            <pc:sldMk cId="259811885" sldId="349"/>
            <ac:spMk id="4" creationId="{A7B74C4D-063C-76FA-0B2F-70EC0F7C073B}"/>
          </ac:spMkLst>
        </pc:spChg>
        <pc:spChg chg="mod">
          <ac:chgData name="Jessy Hu" userId="f2d34ac4-8535-4a4b-87f4-a2602f82559e" providerId="ADAL" clId="{3768937E-7146-274F-B1CF-5E05B3741284}" dt="2023-12-08T00:56:20.227" v="4909"/>
          <ac:spMkLst>
            <pc:docMk/>
            <pc:sldMk cId="259811885" sldId="349"/>
            <ac:spMk id="6" creationId="{B38D28EB-2CB5-2DE4-B73F-8F652F16D662}"/>
          </ac:spMkLst>
        </pc:spChg>
        <pc:spChg chg="mod">
          <ac:chgData name="Jessy Hu" userId="f2d34ac4-8535-4a4b-87f4-a2602f82559e" providerId="ADAL" clId="{3768937E-7146-274F-B1CF-5E05B3741284}" dt="2023-12-08T00:56:20.227" v="4909"/>
          <ac:spMkLst>
            <pc:docMk/>
            <pc:sldMk cId="259811885" sldId="349"/>
            <ac:spMk id="7" creationId="{890C015F-19CE-329C-031E-66FD21C88499}"/>
          </ac:spMkLst>
        </pc:spChg>
        <pc:spChg chg="mod">
          <ac:chgData name="Jessy Hu" userId="f2d34ac4-8535-4a4b-87f4-a2602f82559e" providerId="ADAL" clId="{3768937E-7146-274F-B1CF-5E05B3741284}" dt="2023-12-08T00:56:20.227" v="4909"/>
          <ac:spMkLst>
            <pc:docMk/>
            <pc:sldMk cId="259811885" sldId="349"/>
            <ac:spMk id="8" creationId="{5A449C3E-7B7F-FD5B-0C32-4908473BFBDB}"/>
          </ac:spMkLst>
        </pc:spChg>
        <pc:spChg chg="mod">
          <ac:chgData name="Jessy Hu" userId="f2d34ac4-8535-4a4b-87f4-a2602f82559e" providerId="ADAL" clId="{3768937E-7146-274F-B1CF-5E05B3741284}" dt="2023-12-08T00:56:20.227" v="4909"/>
          <ac:spMkLst>
            <pc:docMk/>
            <pc:sldMk cId="259811885" sldId="349"/>
            <ac:spMk id="9" creationId="{E9A2F0E7-148F-A6B3-A6B4-407CC7F9D65B}"/>
          </ac:spMkLst>
        </pc:spChg>
        <pc:spChg chg="add mod">
          <ac:chgData name="Jessy Hu" userId="f2d34ac4-8535-4a4b-87f4-a2602f82559e" providerId="ADAL" clId="{3768937E-7146-274F-B1CF-5E05B3741284}" dt="2023-12-08T01:04:59.148" v="5016" actId="14100"/>
          <ac:spMkLst>
            <pc:docMk/>
            <pc:sldMk cId="259811885" sldId="349"/>
            <ac:spMk id="10" creationId="{19C8985D-FE9E-7D62-7D80-12E5382106A3}"/>
          </ac:spMkLst>
        </pc:spChg>
        <pc:spChg chg="add mod">
          <ac:chgData name="Jessy Hu" userId="f2d34ac4-8535-4a4b-87f4-a2602f82559e" providerId="ADAL" clId="{3768937E-7146-274F-B1CF-5E05B3741284}" dt="2023-12-08T23:04:31.912" v="5184" actId="122"/>
          <ac:spMkLst>
            <pc:docMk/>
            <pc:sldMk cId="259811885" sldId="349"/>
            <ac:spMk id="11" creationId="{BE523913-76AA-BCD3-2188-A57A3049EF85}"/>
          </ac:spMkLst>
        </pc:spChg>
        <pc:spChg chg="add mod">
          <ac:chgData name="Jessy Hu" userId="f2d34ac4-8535-4a4b-87f4-a2602f82559e" providerId="ADAL" clId="{3768937E-7146-274F-B1CF-5E05B3741284}" dt="2023-12-08T01:02:16.036" v="4972" actId="1076"/>
          <ac:spMkLst>
            <pc:docMk/>
            <pc:sldMk cId="259811885" sldId="349"/>
            <ac:spMk id="12" creationId="{DAB4E641-761B-8831-7C2D-2CDD88941FB5}"/>
          </ac:spMkLst>
        </pc:spChg>
        <pc:spChg chg="add mod">
          <ac:chgData name="Jessy Hu" userId="f2d34ac4-8535-4a4b-87f4-a2602f82559e" providerId="ADAL" clId="{3768937E-7146-274F-B1CF-5E05B3741284}" dt="2023-12-08T01:02:16.036" v="4972" actId="1076"/>
          <ac:spMkLst>
            <pc:docMk/>
            <pc:sldMk cId="259811885" sldId="349"/>
            <ac:spMk id="13" creationId="{BAE861AE-DF8B-FF51-ABB2-453469E7622D}"/>
          </ac:spMkLst>
        </pc:spChg>
        <pc:spChg chg="mod">
          <ac:chgData name="Jessy Hu" userId="f2d34ac4-8535-4a4b-87f4-a2602f82559e" providerId="ADAL" clId="{3768937E-7146-274F-B1CF-5E05B3741284}" dt="2023-12-08T00:57:30.205" v="4921"/>
          <ac:spMkLst>
            <pc:docMk/>
            <pc:sldMk cId="259811885" sldId="349"/>
            <ac:spMk id="15" creationId="{A1B3E13F-BC7A-0808-85E1-D6BA132AFCC2}"/>
          </ac:spMkLst>
        </pc:spChg>
        <pc:spChg chg="mod">
          <ac:chgData name="Jessy Hu" userId="f2d34ac4-8535-4a4b-87f4-a2602f82559e" providerId="ADAL" clId="{3768937E-7146-274F-B1CF-5E05B3741284}" dt="2023-12-08T00:57:30.205" v="4921"/>
          <ac:spMkLst>
            <pc:docMk/>
            <pc:sldMk cId="259811885" sldId="349"/>
            <ac:spMk id="16" creationId="{92BCF039-0E1C-4FC1-EADF-44AEB93E0344}"/>
          </ac:spMkLst>
        </pc:spChg>
        <pc:spChg chg="mod">
          <ac:chgData name="Jessy Hu" userId="f2d34ac4-8535-4a4b-87f4-a2602f82559e" providerId="ADAL" clId="{3768937E-7146-274F-B1CF-5E05B3741284}" dt="2023-12-08T00:57:30.205" v="4921"/>
          <ac:spMkLst>
            <pc:docMk/>
            <pc:sldMk cId="259811885" sldId="349"/>
            <ac:spMk id="17" creationId="{C08DB1DC-6D76-E663-42ED-CDD07E4BB25D}"/>
          </ac:spMkLst>
        </pc:spChg>
        <pc:spChg chg="mod">
          <ac:chgData name="Jessy Hu" userId="f2d34ac4-8535-4a4b-87f4-a2602f82559e" providerId="ADAL" clId="{3768937E-7146-274F-B1CF-5E05B3741284}" dt="2023-12-08T00:57:30.205" v="4921"/>
          <ac:spMkLst>
            <pc:docMk/>
            <pc:sldMk cId="259811885" sldId="349"/>
            <ac:spMk id="18" creationId="{366716A1-E60E-8975-949E-26AD9317790D}"/>
          </ac:spMkLst>
        </pc:spChg>
        <pc:spChg chg="add mod">
          <ac:chgData name="Jessy Hu" userId="f2d34ac4-8535-4a4b-87f4-a2602f82559e" providerId="ADAL" clId="{3768937E-7146-274F-B1CF-5E05B3741284}" dt="2023-12-08T01:07:44.106" v="5049" actId="20577"/>
          <ac:spMkLst>
            <pc:docMk/>
            <pc:sldMk cId="259811885" sldId="349"/>
            <ac:spMk id="19" creationId="{B7332ABA-9985-8AAB-8864-95D651D7CF33}"/>
          </ac:spMkLst>
        </pc:spChg>
        <pc:spChg chg="add mod">
          <ac:chgData name="Jessy Hu" userId="f2d34ac4-8535-4a4b-87f4-a2602f82559e" providerId="ADAL" clId="{3768937E-7146-274F-B1CF-5E05B3741284}" dt="2023-12-08T23:04:34.251" v="5185" actId="122"/>
          <ac:spMkLst>
            <pc:docMk/>
            <pc:sldMk cId="259811885" sldId="349"/>
            <ac:spMk id="20" creationId="{344436C1-1E81-B4EA-26B1-24099C3349B7}"/>
          </ac:spMkLst>
        </pc:spChg>
        <pc:spChg chg="add mod">
          <ac:chgData name="Jessy Hu" userId="f2d34ac4-8535-4a4b-87f4-a2602f82559e" providerId="ADAL" clId="{3768937E-7146-274F-B1CF-5E05B3741284}" dt="2023-12-08T01:04:00.884" v="5000" actId="1076"/>
          <ac:spMkLst>
            <pc:docMk/>
            <pc:sldMk cId="259811885" sldId="349"/>
            <ac:spMk id="21" creationId="{1E4B98CA-9A65-FCFA-D534-C2FD6717FB43}"/>
          </ac:spMkLst>
        </pc:spChg>
        <pc:spChg chg="add mod">
          <ac:chgData name="Jessy Hu" userId="f2d34ac4-8535-4a4b-87f4-a2602f82559e" providerId="ADAL" clId="{3768937E-7146-274F-B1CF-5E05B3741284}" dt="2023-12-08T01:04:00.884" v="5000" actId="1076"/>
          <ac:spMkLst>
            <pc:docMk/>
            <pc:sldMk cId="259811885" sldId="349"/>
            <ac:spMk id="22" creationId="{44FAA4F5-1A6F-2A9C-BA0A-F9493E25AE35}"/>
          </ac:spMkLst>
        </pc:spChg>
        <pc:spChg chg="mod">
          <ac:chgData name="Jessy Hu" userId="f2d34ac4-8535-4a4b-87f4-a2602f82559e" providerId="ADAL" clId="{3768937E-7146-274F-B1CF-5E05B3741284}" dt="2023-12-08T00:58:46.069" v="4943"/>
          <ac:spMkLst>
            <pc:docMk/>
            <pc:sldMk cId="259811885" sldId="349"/>
            <ac:spMk id="24" creationId="{49A1D5C2-F0A3-201F-C2FE-8AE1F90FD46C}"/>
          </ac:spMkLst>
        </pc:spChg>
        <pc:spChg chg="mod">
          <ac:chgData name="Jessy Hu" userId="f2d34ac4-8535-4a4b-87f4-a2602f82559e" providerId="ADAL" clId="{3768937E-7146-274F-B1CF-5E05B3741284}" dt="2023-12-08T00:58:46.069" v="4943"/>
          <ac:spMkLst>
            <pc:docMk/>
            <pc:sldMk cId="259811885" sldId="349"/>
            <ac:spMk id="25" creationId="{F851756D-F779-4CAB-EE66-00E39C779681}"/>
          </ac:spMkLst>
        </pc:spChg>
        <pc:spChg chg="mod">
          <ac:chgData name="Jessy Hu" userId="f2d34ac4-8535-4a4b-87f4-a2602f82559e" providerId="ADAL" clId="{3768937E-7146-274F-B1CF-5E05B3741284}" dt="2023-12-08T00:58:46.069" v="4943"/>
          <ac:spMkLst>
            <pc:docMk/>
            <pc:sldMk cId="259811885" sldId="349"/>
            <ac:spMk id="26" creationId="{583476F9-EA61-B6EC-78A4-B4FC6CC8E205}"/>
          </ac:spMkLst>
        </pc:spChg>
        <pc:spChg chg="mod">
          <ac:chgData name="Jessy Hu" userId="f2d34ac4-8535-4a4b-87f4-a2602f82559e" providerId="ADAL" clId="{3768937E-7146-274F-B1CF-5E05B3741284}" dt="2023-12-08T00:58:46.069" v="4943"/>
          <ac:spMkLst>
            <pc:docMk/>
            <pc:sldMk cId="259811885" sldId="349"/>
            <ac:spMk id="27" creationId="{938D64DE-8976-B695-9A4D-F1527C71DC32}"/>
          </ac:spMkLst>
        </pc:spChg>
        <pc:spChg chg="add del">
          <ac:chgData name="Jessy Hu" userId="f2d34ac4-8535-4a4b-87f4-a2602f82559e" providerId="ADAL" clId="{3768937E-7146-274F-B1CF-5E05B3741284}" dt="2023-12-08T00:59:10.156" v="4949" actId="22"/>
          <ac:spMkLst>
            <pc:docMk/>
            <pc:sldMk cId="259811885" sldId="349"/>
            <ac:spMk id="29" creationId="{87538B74-542E-A568-9736-7F201BA4209A}"/>
          </ac:spMkLst>
        </pc:spChg>
        <pc:spChg chg="add mod">
          <ac:chgData name="Jessy Hu" userId="f2d34ac4-8535-4a4b-87f4-a2602f82559e" providerId="ADAL" clId="{3768937E-7146-274F-B1CF-5E05B3741284}" dt="2023-12-08T01:11:09.632" v="5061" actId="1076"/>
          <ac:spMkLst>
            <pc:docMk/>
            <pc:sldMk cId="259811885" sldId="349"/>
            <ac:spMk id="30" creationId="{B2EABD31-6B09-93C7-14CD-8580E0290EBE}"/>
          </ac:spMkLst>
        </pc:spChg>
        <pc:spChg chg="add mod">
          <ac:chgData name="Jessy Hu" userId="f2d34ac4-8535-4a4b-87f4-a2602f82559e" providerId="ADAL" clId="{3768937E-7146-274F-B1CF-5E05B3741284}" dt="2023-12-08T01:11:05.279" v="5060" actId="1076"/>
          <ac:spMkLst>
            <pc:docMk/>
            <pc:sldMk cId="259811885" sldId="349"/>
            <ac:spMk id="31" creationId="{48A649E0-7313-7BD2-5860-F4DD52BFD256}"/>
          </ac:spMkLst>
        </pc:spChg>
        <pc:spChg chg="add mod">
          <ac:chgData name="Jessy Hu" userId="f2d34ac4-8535-4a4b-87f4-a2602f82559e" providerId="ADAL" clId="{3768937E-7146-274F-B1CF-5E05B3741284}" dt="2023-12-08T01:02:41.826" v="4980" actId="1076"/>
          <ac:spMkLst>
            <pc:docMk/>
            <pc:sldMk cId="259811885" sldId="349"/>
            <ac:spMk id="32" creationId="{51907D7B-66C1-81BA-C6EC-26F01DCF4B95}"/>
          </ac:spMkLst>
        </pc:spChg>
        <pc:spChg chg="add mod">
          <ac:chgData name="Jessy Hu" userId="f2d34ac4-8535-4a4b-87f4-a2602f82559e" providerId="ADAL" clId="{3768937E-7146-274F-B1CF-5E05B3741284}" dt="2023-12-08T01:06:32.293" v="5040" actId="14100"/>
          <ac:spMkLst>
            <pc:docMk/>
            <pc:sldMk cId="259811885" sldId="349"/>
            <ac:spMk id="33" creationId="{A1BDBA6E-EF93-706F-04CD-711CD6FA6DA0}"/>
          </ac:spMkLst>
        </pc:spChg>
        <pc:spChg chg="mod">
          <ac:chgData name="Jessy Hu" userId="f2d34ac4-8535-4a4b-87f4-a2602f82559e" providerId="ADAL" clId="{3768937E-7146-274F-B1CF-5E05B3741284}" dt="2023-12-08T00:59:26.432" v="4951"/>
          <ac:spMkLst>
            <pc:docMk/>
            <pc:sldMk cId="259811885" sldId="349"/>
            <ac:spMk id="35" creationId="{8B0FD20B-A8CF-069C-37D2-456614F386F8}"/>
          </ac:spMkLst>
        </pc:spChg>
        <pc:spChg chg="mod">
          <ac:chgData name="Jessy Hu" userId="f2d34ac4-8535-4a4b-87f4-a2602f82559e" providerId="ADAL" clId="{3768937E-7146-274F-B1CF-5E05B3741284}" dt="2023-12-08T00:59:26.432" v="4951"/>
          <ac:spMkLst>
            <pc:docMk/>
            <pc:sldMk cId="259811885" sldId="349"/>
            <ac:spMk id="36" creationId="{98697570-B03B-D298-7AEF-22D14BDCEC41}"/>
          </ac:spMkLst>
        </pc:spChg>
        <pc:spChg chg="mod">
          <ac:chgData name="Jessy Hu" userId="f2d34ac4-8535-4a4b-87f4-a2602f82559e" providerId="ADAL" clId="{3768937E-7146-274F-B1CF-5E05B3741284}" dt="2023-12-08T00:59:26.432" v="4951"/>
          <ac:spMkLst>
            <pc:docMk/>
            <pc:sldMk cId="259811885" sldId="349"/>
            <ac:spMk id="37" creationId="{7EDE5525-DC35-F7D2-7538-335F1F9FE5CD}"/>
          </ac:spMkLst>
        </pc:spChg>
        <pc:spChg chg="mod">
          <ac:chgData name="Jessy Hu" userId="f2d34ac4-8535-4a4b-87f4-a2602f82559e" providerId="ADAL" clId="{3768937E-7146-274F-B1CF-5E05B3741284}" dt="2023-12-08T00:59:26.432" v="4951"/>
          <ac:spMkLst>
            <pc:docMk/>
            <pc:sldMk cId="259811885" sldId="349"/>
            <ac:spMk id="38" creationId="{11EDDA76-35B3-DD47-779E-93F48ECE0C86}"/>
          </ac:spMkLst>
        </pc:spChg>
        <pc:spChg chg="add mod">
          <ac:chgData name="Jessy Hu" userId="f2d34ac4-8535-4a4b-87f4-a2602f82559e" providerId="ADAL" clId="{3768937E-7146-274F-B1CF-5E05B3741284}" dt="2023-12-08T01:11:15.352" v="5063" actId="1076"/>
          <ac:spMkLst>
            <pc:docMk/>
            <pc:sldMk cId="259811885" sldId="349"/>
            <ac:spMk id="39" creationId="{38D1C866-4A4B-46B9-67B4-BC4846BE56EB}"/>
          </ac:spMkLst>
        </pc:spChg>
        <pc:spChg chg="add mod">
          <ac:chgData name="Jessy Hu" userId="f2d34ac4-8535-4a4b-87f4-a2602f82559e" providerId="ADAL" clId="{3768937E-7146-274F-B1CF-5E05B3741284}" dt="2023-12-08T23:04:26.778" v="5183" actId="122"/>
          <ac:spMkLst>
            <pc:docMk/>
            <pc:sldMk cId="259811885" sldId="349"/>
            <ac:spMk id="40" creationId="{76B9F210-0F5D-8FF7-146E-60468ECC98B7}"/>
          </ac:spMkLst>
        </pc:spChg>
        <pc:spChg chg="add mod">
          <ac:chgData name="Jessy Hu" userId="f2d34ac4-8535-4a4b-87f4-a2602f82559e" providerId="ADAL" clId="{3768937E-7146-274F-B1CF-5E05B3741284}" dt="2023-12-08T01:06:21.304" v="5036" actId="1076"/>
          <ac:spMkLst>
            <pc:docMk/>
            <pc:sldMk cId="259811885" sldId="349"/>
            <ac:spMk id="41" creationId="{1483F765-79D9-4C5C-6E76-B1B15280A56C}"/>
          </ac:spMkLst>
        </pc:spChg>
        <pc:spChg chg="add mod">
          <ac:chgData name="Jessy Hu" userId="f2d34ac4-8535-4a4b-87f4-a2602f82559e" providerId="ADAL" clId="{3768937E-7146-274F-B1CF-5E05B3741284}" dt="2023-12-08T01:06:21.304" v="5036" actId="1076"/>
          <ac:spMkLst>
            <pc:docMk/>
            <pc:sldMk cId="259811885" sldId="349"/>
            <ac:spMk id="42" creationId="{FF3BF040-9C7B-0D50-FD73-3AA38F5DC81D}"/>
          </ac:spMkLst>
        </pc:spChg>
        <pc:spChg chg="mod">
          <ac:chgData name="Jessy Hu" userId="f2d34ac4-8535-4a4b-87f4-a2602f82559e" providerId="ADAL" clId="{3768937E-7146-274F-B1CF-5E05B3741284}" dt="2023-12-08T00:59:26.432" v="4951"/>
          <ac:spMkLst>
            <pc:docMk/>
            <pc:sldMk cId="259811885" sldId="349"/>
            <ac:spMk id="44" creationId="{5FEE4D7D-E869-8314-CE90-6F9011152855}"/>
          </ac:spMkLst>
        </pc:spChg>
        <pc:spChg chg="mod">
          <ac:chgData name="Jessy Hu" userId="f2d34ac4-8535-4a4b-87f4-a2602f82559e" providerId="ADAL" clId="{3768937E-7146-274F-B1CF-5E05B3741284}" dt="2023-12-08T00:59:26.432" v="4951"/>
          <ac:spMkLst>
            <pc:docMk/>
            <pc:sldMk cId="259811885" sldId="349"/>
            <ac:spMk id="45" creationId="{8DF5B019-8261-12C0-BE5C-FE9C148FB719}"/>
          </ac:spMkLst>
        </pc:spChg>
        <pc:spChg chg="mod">
          <ac:chgData name="Jessy Hu" userId="f2d34ac4-8535-4a4b-87f4-a2602f82559e" providerId="ADAL" clId="{3768937E-7146-274F-B1CF-5E05B3741284}" dt="2023-12-08T00:59:26.432" v="4951"/>
          <ac:spMkLst>
            <pc:docMk/>
            <pc:sldMk cId="259811885" sldId="349"/>
            <ac:spMk id="46" creationId="{1F4FC960-3942-AFDD-2865-6FD27CEEE726}"/>
          </ac:spMkLst>
        </pc:spChg>
        <pc:spChg chg="mod">
          <ac:chgData name="Jessy Hu" userId="f2d34ac4-8535-4a4b-87f4-a2602f82559e" providerId="ADAL" clId="{3768937E-7146-274F-B1CF-5E05B3741284}" dt="2023-12-08T00:59:26.432" v="4951"/>
          <ac:spMkLst>
            <pc:docMk/>
            <pc:sldMk cId="259811885" sldId="349"/>
            <ac:spMk id="47" creationId="{0D91CB1C-F30E-853E-0935-DFF4918B8A6C}"/>
          </ac:spMkLst>
        </pc:spChg>
        <pc:spChg chg="add mod">
          <ac:chgData name="Jessy Hu" userId="f2d34ac4-8535-4a4b-87f4-a2602f82559e" providerId="ADAL" clId="{3768937E-7146-274F-B1CF-5E05B3741284}" dt="2023-12-08T01:11:54.924" v="5075" actId="14100"/>
          <ac:spMkLst>
            <pc:docMk/>
            <pc:sldMk cId="259811885" sldId="349"/>
            <ac:spMk id="48" creationId="{C4D38A8B-2776-34EA-021E-C1FF2D0725F9}"/>
          </ac:spMkLst>
        </pc:spChg>
        <pc:spChg chg="mod">
          <ac:chgData name="Jessy Hu" userId="f2d34ac4-8535-4a4b-87f4-a2602f82559e" providerId="ADAL" clId="{3768937E-7146-274F-B1CF-5E05B3741284}" dt="2023-12-08T01:05:21.518" v="5023" actId="207"/>
          <ac:spMkLst>
            <pc:docMk/>
            <pc:sldMk cId="259811885" sldId="349"/>
            <ac:spMk id="50" creationId="{0A9485AC-BADD-B3C9-FF80-3336E364A374}"/>
          </ac:spMkLst>
        </pc:spChg>
        <pc:spChg chg="mod">
          <ac:chgData name="Jessy Hu" userId="f2d34ac4-8535-4a4b-87f4-a2602f82559e" providerId="ADAL" clId="{3768937E-7146-274F-B1CF-5E05B3741284}" dt="2023-12-08T01:05:21.518" v="5023" actId="207"/>
          <ac:spMkLst>
            <pc:docMk/>
            <pc:sldMk cId="259811885" sldId="349"/>
            <ac:spMk id="51" creationId="{E89C4393-C7E8-874D-114B-434E234BF6D2}"/>
          </ac:spMkLst>
        </pc:spChg>
        <pc:spChg chg="mod">
          <ac:chgData name="Jessy Hu" userId="f2d34ac4-8535-4a4b-87f4-a2602f82559e" providerId="ADAL" clId="{3768937E-7146-274F-B1CF-5E05B3741284}" dt="2023-12-08T01:05:21.518" v="5023" actId="207"/>
          <ac:spMkLst>
            <pc:docMk/>
            <pc:sldMk cId="259811885" sldId="349"/>
            <ac:spMk id="52" creationId="{389C0370-57E7-4E48-B7F7-88B727EAABFC}"/>
          </ac:spMkLst>
        </pc:spChg>
        <pc:spChg chg="mod">
          <ac:chgData name="Jessy Hu" userId="f2d34ac4-8535-4a4b-87f4-a2602f82559e" providerId="ADAL" clId="{3768937E-7146-274F-B1CF-5E05B3741284}" dt="2023-12-08T01:05:21.518" v="5023" actId="207"/>
          <ac:spMkLst>
            <pc:docMk/>
            <pc:sldMk cId="259811885" sldId="349"/>
            <ac:spMk id="53" creationId="{0CBAAFDE-9140-8B7F-AA17-A9F4EB7F6A0B}"/>
          </ac:spMkLst>
        </pc:spChg>
        <pc:spChg chg="mod">
          <ac:chgData name="Jessy Hu" userId="f2d34ac4-8535-4a4b-87f4-a2602f82559e" providerId="ADAL" clId="{3768937E-7146-274F-B1CF-5E05B3741284}" dt="2023-12-08T01:05:21.518" v="5023" actId="207"/>
          <ac:spMkLst>
            <pc:docMk/>
            <pc:sldMk cId="259811885" sldId="349"/>
            <ac:spMk id="54" creationId="{36A42436-E8DA-39A7-149E-56D06F35B6A8}"/>
          </ac:spMkLst>
        </pc:spChg>
        <pc:spChg chg="mod">
          <ac:chgData name="Jessy Hu" userId="f2d34ac4-8535-4a4b-87f4-a2602f82559e" providerId="ADAL" clId="{3768937E-7146-274F-B1CF-5E05B3741284}" dt="2023-12-08T01:05:21.518" v="5023" actId="207"/>
          <ac:spMkLst>
            <pc:docMk/>
            <pc:sldMk cId="259811885" sldId="349"/>
            <ac:spMk id="55" creationId="{432E3BD8-F506-9DAC-DDA9-D18B09ED946C}"/>
          </ac:spMkLst>
        </pc:spChg>
        <pc:spChg chg="mod">
          <ac:chgData name="Jessy Hu" userId="f2d34ac4-8535-4a4b-87f4-a2602f82559e" providerId="ADAL" clId="{3768937E-7146-274F-B1CF-5E05B3741284}" dt="2023-12-08T01:05:21.518" v="5023" actId="207"/>
          <ac:spMkLst>
            <pc:docMk/>
            <pc:sldMk cId="259811885" sldId="349"/>
            <ac:spMk id="56" creationId="{470A9D6A-0C0D-7A13-8718-EF3B6ACD8E66}"/>
          </ac:spMkLst>
        </pc:spChg>
        <pc:spChg chg="mod">
          <ac:chgData name="Jessy Hu" userId="f2d34ac4-8535-4a4b-87f4-a2602f82559e" providerId="ADAL" clId="{3768937E-7146-274F-B1CF-5E05B3741284}" dt="2023-12-08T01:05:21.518" v="5023" actId="207"/>
          <ac:spMkLst>
            <pc:docMk/>
            <pc:sldMk cId="259811885" sldId="349"/>
            <ac:spMk id="57" creationId="{E15C0527-2967-26A9-4AF6-F8AAB095AEEA}"/>
          </ac:spMkLst>
        </pc:spChg>
        <pc:spChg chg="mod">
          <ac:chgData name="Jessy Hu" userId="f2d34ac4-8535-4a4b-87f4-a2602f82559e" providerId="ADAL" clId="{3768937E-7146-274F-B1CF-5E05B3741284}" dt="2023-12-08T01:05:21.518" v="5023" actId="207"/>
          <ac:spMkLst>
            <pc:docMk/>
            <pc:sldMk cId="259811885" sldId="349"/>
            <ac:spMk id="58" creationId="{D33AD72C-0248-0120-AA5D-02B80380CD38}"/>
          </ac:spMkLst>
        </pc:spChg>
        <pc:spChg chg="mod">
          <ac:chgData name="Jessy Hu" userId="f2d34ac4-8535-4a4b-87f4-a2602f82559e" providerId="ADAL" clId="{3768937E-7146-274F-B1CF-5E05B3741284}" dt="2023-12-08T01:05:21.518" v="5023" actId="207"/>
          <ac:spMkLst>
            <pc:docMk/>
            <pc:sldMk cId="259811885" sldId="349"/>
            <ac:spMk id="59" creationId="{6461F88D-34DE-0929-4B38-CAEBEE5D9FA2}"/>
          </ac:spMkLst>
        </pc:spChg>
        <pc:spChg chg="mod">
          <ac:chgData name="Jessy Hu" userId="f2d34ac4-8535-4a4b-87f4-a2602f82559e" providerId="ADAL" clId="{3768937E-7146-274F-B1CF-5E05B3741284}" dt="2023-12-08T01:05:21.518" v="5023" actId="207"/>
          <ac:spMkLst>
            <pc:docMk/>
            <pc:sldMk cId="259811885" sldId="349"/>
            <ac:spMk id="60" creationId="{75213D71-EADB-6EC4-3CA0-C13B09E3135B}"/>
          </ac:spMkLst>
        </pc:spChg>
        <pc:spChg chg="mod">
          <ac:chgData name="Jessy Hu" userId="f2d34ac4-8535-4a4b-87f4-a2602f82559e" providerId="ADAL" clId="{3768937E-7146-274F-B1CF-5E05B3741284}" dt="2023-12-08T01:05:21.518" v="5023" actId="207"/>
          <ac:spMkLst>
            <pc:docMk/>
            <pc:sldMk cId="259811885" sldId="349"/>
            <ac:spMk id="61" creationId="{FFD83BA4-0957-5578-79C9-B5142000A238}"/>
          </ac:spMkLst>
        </pc:spChg>
        <pc:spChg chg="mod">
          <ac:chgData name="Jessy Hu" userId="f2d34ac4-8535-4a4b-87f4-a2602f82559e" providerId="ADAL" clId="{3768937E-7146-274F-B1CF-5E05B3741284}" dt="2023-12-08T01:05:21.518" v="5023" actId="207"/>
          <ac:spMkLst>
            <pc:docMk/>
            <pc:sldMk cId="259811885" sldId="349"/>
            <ac:spMk id="62" creationId="{D5C6AD1C-2EAF-997B-576A-9B8E8D6FA60E}"/>
          </ac:spMkLst>
        </pc:spChg>
        <pc:spChg chg="mod">
          <ac:chgData name="Jessy Hu" userId="f2d34ac4-8535-4a4b-87f4-a2602f82559e" providerId="ADAL" clId="{3768937E-7146-274F-B1CF-5E05B3741284}" dt="2023-12-08T01:05:21.518" v="5023" actId="207"/>
          <ac:spMkLst>
            <pc:docMk/>
            <pc:sldMk cId="259811885" sldId="349"/>
            <ac:spMk id="63" creationId="{674E60D5-758E-3A86-9C24-E23B2679613A}"/>
          </ac:spMkLst>
        </pc:spChg>
        <pc:spChg chg="mod">
          <ac:chgData name="Jessy Hu" userId="f2d34ac4-8535-4a4b-87f4-a2602f82559e" providerId="ADAL" clId="{3768937E-7146-274F-B1CF-5E05B3741284}" dt="2023-12-08T01:05:21.518" v="5023" actId="207"/>
          <ac:spMkLst>
            <pc:docMk/>
            <pc:sldMk cId="259811885" sldId="349"/>
            <ac:spMk id="192" creationId="{8BB1909E-F33B-C319-7D4A-9A2FE18AFBD5}"/>
          </ac:spMkLst>
        </pc:spChg>
        <pc:spChg chg="mod">
          <ac:chgData name="Jessy Hu" userId="f2d34ac4-8535-4a4b-87f4-a2602f82559e" providerId="ADAL" clId="{3768937E-7146-274F-B1CF-5E05B3741284}" dt="2023-12-08T01:05:21.518" v="5023" actId="207"/>
          <ac:spMkLst>
            <pc:docMk/>
            <pc:sldMk cId="259811885" sldId="349"/>
            <ac:spMk id="193" creationId="{67BB6C54-797B-3B5E-829F-F221C06EA5BB}"/>
          </ac:spMkLst>
        </pc:spChg>
        <pc:spChg chg="mod">
          <ac:chgData name="Jessy Hu" userId="f2d34ac4-8535-4a4b-87f4-a2602f82559e" providerId="ADAL" clId="{3768937E-7146-274F-B1CF-5E05B3741284}" dt="2023-12-08T01:05:21.518" v="5023" actId="207"/>
          <ac:spMkLst>
            <pc:docMk/>
            <pc:sldMk cId="259811885" sldId="349"/>
            <ac:spMk id="194" creationId="{ED8CD2BC-E641-F7CB-6F0F-921EC3874FCC}"/>
          </ac:spMkLst>
        </pc:spChg>
        <pc:spChg chg="mod">
          <ac:chgData name="Jessy Hu" userId="f2d34ac4-8535-4a4b-87f4-a2602f82559e" providerId="ADAL" clId="{3768937E-7146-274F-B1CF-5E05B3741284}" dt="2023-12-08T01:05:21.518" v="5023" actId="207"/>
          <ac:spMkLst>
            <pc:docMk/>
            <pc:sldMk cId="259811885" sldId="349"/>
            <ac:spMk id="195" creationId="{2CD2D857-2983-248D-DF9E-6DB4610E008C}"/>
          </ac:spMkLst>
        </pc:spChg>
        <pc:spChg chg="mod">
          <ac:chgData name="Jessy Hu" userId="f2d34ac4-8535-4a4b-87f4-a2602f82559e" providerId="ADAL" clId="{3768937E-7146-274F-B1CF-5E05B3741284}" dt="2023-12-08T01:05:21.518" v="5023" actId="207"/>
          <ac:spMkLst>
            <pc:docMk/>
            <pc:sldMk cId="259811885" sldId="349"/>
            <ac:spMk id="196" creationId="{8EA790D5-2530-1499-CA96-E92E8694F180}"/>
          </ac:spMkLst>
        </pc:spChg>
        <pc:spChg chg="mod">
          <ac:chgData name="Jessy Hu" userId="f2d34ac4-8535-4a4b-87f4-a2602f82559e" providerId="ADAL" clId="{3768937E-7146-274F-B1CF-5E05B3741284}" dt="2023-12-08T01:05:21.518" v="5023" actId="207"/>
          <ac:spMkLst>
            <pc:docMk/>
            <pc:sldMk cId="259811885" sldId="349"/>
            <ac:spMk id="197" creationId="{251EB3EA-F3C8-31BE-5A4F-C5DAF2FD6E1F}"/>
          </ac:spMkLst>
        </pc:spChg>
        <pc:spChg chg="del">
          <ac:chgData name="Jessy Hu" userId="f2d34ac4-8535-4a4b-87f4-a2602f82559e" providerId="ADAL" clId="{3768937E-7146-274F-B1CF-5E05B3741284}" dt="2023-12-08T00:56:19.746" v="4908" actId="478"/>
          <ac:spMkLst>
            <pc:docMk/>
            <pc:sldMk cId="259811885" sldId="349"/>
            <ac:spMk id="219" creationId="{00000000-0000-0000-0000-000000000000}"/>
          </ac:spMkLst>
        </pc:spChg>
        <pc:spChg chg="mod">
          <ac:chgData name="Jessy Hu" userId="f2d34ac4-8535-4a4b-87f4-a2602f82559e" providerId="ADAL" clId="{3768937E-7146-274F-B1CF-5E05B3741284}" dt="2023-12-08T01:07:09.398" v="5048" actId="1076"/>
          <ac:spMkLst>
            <pc:docMk/>
            <pc:sldMk cId="259811885" sldId="349"/>
            <ac:spMk id="221" creationId="{00000000-0000-0000-0000-000000000000}"/>
          </ac:spMkLst>
        </pc:spChg>
        <pc:grpChg chg="add del mod">
          <ac:chgData name="Jessy Hu" userId="f2d34ac4-8535-4a4b-87f4-a2602f82559e" providerId="ADAL" clId="{3768937E-7146-274F-B1CF-5E05B3741284}" dt="2023-12-08T00:56:31.871" v="4919" actId="478"/>
          <ac:grpSpMkLst>
            <pc:docMk/>
            <pc:sldMk cId="259811885" sldId="349"/>
            <ac:grpSpMk id="5" creationId="{3DFF1464-0B3A-9CF8-5070-12D137591003}"/>
          </ac:grpSpMkLst>
        </pc:grpChg>
        <pc:grpChg chg="add mod">
          <ac:chgData name="Jessy Hu" userId="f2d34ac4-8535-4a4b-87f4-a2602f82559e" providerId="ADAL" clId="{3768937E-7146-274F-B1CF-5E05B3741284}" dt="2023-12-08T01:02:16.036" v="4972" actId="1076"/>
          <ac:grpSpMkLst>
            <pc:docMk/>
            <pc:sldMk cId="259811885" sldId="349"/>
            <ac:grpSpMk id="14" creationId="{A5033A04-0E78-8FCE-047C-5D82AD28A5AE}"/>
          </ac:grpSpMkLst>
        </pc:grpChg>
        <pc:grpChg chg="add mod">
          <ac:chgData name="Jessy Hu" userId="f2d34ac4-8535-4a4b-87f4-a2602f82559e" providerId="ADAL" clId="{3768937E-7146-274F-B1CF-5E05B3741284}" dt="2023-12-08T01:04:00.884" v="5000" actId="1076"/>
          <ac:grpSpMkLst>
            <pc:docMk/>
            <pc:sldMk cId="259811885" sldId="349"/>
            <ac:grpSpMk id="23" creationId="{C02B7AE5-7512-7C8A-E03A-DE9BC89D5869}"/>
          </ac:grpSpMkLst>
        </pc:grpChg>
        <pc:grpChg chg="add mod">
          <ac:chgData name="Jessy Hu" userId="f2d34ac4-8535-4a4b-87f4-a2602f82559e" providerId="ADAL" clId="{3768937E-7146-274F-B1CF-5E05B3741284}" dt="2023-12-08T01:02:41.826" v="4980" actId="1076"/>
          <ac:grpSpMkLst>
            <pc:docMk/>
            <pc:sldMk cId="259811885" sldId="349"/>
            <ac:grpSpMk id="34" creationId="{7DA7F59F-2B80-D549-3345-F41D82A49868}"/>
          </ac:grpSpMkLst>
        </pc:grpChg>
        <pc:grpChg chg="add mod">
          <ac:chgData name="Jessy Hu" userId="f2d34ac4-8535-4a4b-87f4-a2602f82559e" providerId="ADAL" clId="{3768937E-7146-274F-B1CF-5E05B3741284}" dt="2023-12-08T01:06:21.304" v="5036" actId="1076"/>
          <ac:grpSpMkLst>
            <pc:docMk/>
            <pc:sldMk cId="259811885" sldId="349"/>
            <ac:grpSpMk id="43" creationId="{1CCD23A9-53EA-1BF4-F5B2-03A88F90DA40}"/>
          </ac:grpSpMkLst>
        </pc:grpChg>
        <pc:grpChg chg="add mod">
          <ac:chgData name="Jessy Hu" userId="f2d34ac4-8535-4a4b-87f4-a2602f82559e" providerId="ADAL" clId="{3768937E-7146-274F-B1CF-5E05B3741284}" dt="2023-12-08T01:11:53.696" v="5073" actId="1076"/>
          <ac:grpSpMkLst>
            <pc:docMk/>
            <pc:sldMk cId="259811885" sldId="349"/>
            <ac:grpSpMk id="49" creationId="{D8FE4C9D-EDE9-7A93-39FD-07041F42F445}"/>
          </ac:grpSpMkLst>
        </pc:grpChg>
        <pc:picChg chg="add mod">
          <ac:chgData name="Jessy Hu" userId="f2d34ac4-8535-4a4b-87f4-a2602f82559e" providerId="ADAL" clId="{3768937E-7146-274F-B1CF-5E05B3741284}" dt="2023-12-08T01:12:03.701" v="5076" actId="1076"/>
          <ac:picMkLst>
            <pc:docMk/>
            <pc:sldMk cId="259811885" sldId="349"/>
            <ac:picMk id="198" creationId="{3A93567B-C239-FE6A-6D01-712F69768E4A}"/>
          </ac:picMkLst>
        </pc:picChg>
        <pc:picChg chg="del mod">
          <ac:chgData name="Jessy Hu" userId="f2d34ac4-8535-4a4b-87f4-a2602f82559e" providerId="ADAL" clId="{3768937E-7146-274F-B1CF-5E05B3741284}" dt="2023-12-08T00:57:40.846" v="4924" actId="478"/>
          <ac:picMkLst>
            <pc:docMk/>
            <pc:sldMk cId="259811885" sldId="349"/>
            <ac:picMk id="220" creationId="{00000000-0000-0000-0000-000000000000}"/>
          </ac:picMkLst>
        </pc:picChg>
      </pc:sldChg>
      <pc:sldChg chg="add del">
        <pc:chgData name="Jessy Hu" userId="f2d34ac4-8535-4a4b-87f4-a2602f82559e" providerId="ADAL" clId="{3768937E-7146-274F-B1CF-5E05B3741284}" dt="2023-12-08T01:06:52.139" v="5043"/>
        <pc:sldMkLst>
          <pc:docMk/>
          <pc:sldMk cId="640662510" sldId="350"/>
        </pc:sldMkLst>
      </pc:sldChg>
      <pc:sldChg chg="modSp add mod">
        <pc:chgData name="Jessy Hu" userId="f2d34ac4-8535-4a4b-87f4-a2602f82559e" providerId="ADAL" clId="{3768937E-7146-274F-B1CF-5E05B3741284}" dt="2023-12-08T23:30:33.707" v="5215" actId="404"/>
        <pc:sldMkLst>
          <pc:docMk/>
          <pc:sldMk cId="1902302158" sldId="350"/>
        </pc:sldMkLst>
        <pc:spChg chg="mod">
          <ac:chgData name="Jessy Hu" userId="f2d34ac4-8535-4a4b-87f4-a2602f82559e" providerId="ADAL" clId="{3768937E-7146-274F-B1CF-5E05B3741284}" dt="2023-12-08T23:30:33.707" v="5215" actId="404"/>
          <ac:spMkLst>
            <pc:docMk/>
            <pc:sldMk cId="1902302158" sldId="350"/>
            <ac:spMk id="6" creationId="{D0CF1651-3A20-A1A0-8FB9-FC34818B9E48}"/>
          </ac:spMkLst>
        </pc:spChg>
      </pc:sldChg>
      <pc:sldChg chg="new del">
        <pc:chgData name="Jessy Hu" userId="f2d34ac4-8535-4a4b-87f4-a2602f82559e" providerId="ADAL" clId="{3768937E-7146-274F-B1CF-5E05B3741284}" dt="2023-12-08T23:30:24.614" v="5204" actId="680"/>
        <pc:sldMkLst>
          <pc:docMk/>
          <pc:sldMk cId="3358417879" sldId="350"/>
        </pc:sldMkLst>
      </pc:sldChg>
    </pc:docChg>
  </pc:docChgLst>
  <pc:docChgLst>
    <pc:chgData name="Jiayi Deng" userId="S::jiayideng@uchicago.edu::1a00fe64-c1f9-48ee-8835-dcb79118203c" providerId="AD" clId="Web-{81062C3B-967A-4E04-B10A-194F00DFE795}"/>
    <pc:docChg chg="addSld modSld modSection">
      <pc:chgData name="Jiayi Deng" userId="S::jiayideng@uchicago.edu::1a00fe64-c1f9-48ee-8835-dcb79118203c" providerId="AD" clId="Web-{81062C3B-967A-4E04-B10A-194F00DFE795}" dt="2023-12-07T04:43:33.787" v="16"/>
      <pc:docMkLst>
        <pc:docMk/>
      </pc:docMkLst>
      <pc:sldChg chg="delCm modCm">
        <pc:chgData name="Jiayi Deng" userId="S::jiayideng@uchicago.edu::1a00fe64-c1f9-48ee-8835-dcb79118203c" providerId="AD" clId="Web-{81062C3B-967A-4E04-B10A-194F00DFE795}" dt="2023-12-07T04:40:22.827" v="5"/>
        <pc:sldMkLst>
          <pc:docMk/>
          <pc:sldMk cId="0" sldId="263"/>
        </pc:sldMkLst>
      </pc:sldChg>
      <pc:sldChg chg="modSp delCm modCm">
        <pc:chgData name="Jiayi Deng" userId="S::jiayideng@uchicago.edu::1a00fe64-c1f9-48ee-8835-dcb79118203c" providerId="AD" clId="Web-{81062C3B-967A-4E04-B10A-194F00DFE795}" dt="2023-12-07T04:43:27.443" v="14" actId="1076"/>
        <pc:sldMkLst>
          <pc:docMk/>
          <pc:sldMk cId="0" sldId="286"/>
        </pc:sldMkLst>
        <pc:picChg chg="mod">
          <ac:chgData name="Jiayi Deng" userId="S::jiayideng@uchicago.edu::1a00fe64-c1f9-48ee-8835-dcb79118203c" providerId="AD" clId="Web-{81062C3B-967A-4E04-B10A-194F00DFE795}" dt="2023-12-07T04:43:27.443" v="14" actId="1076"/>
          <ac:picMkLst>
            <pc:docMk/>
            <pc:sldMk cId="0" sldId="286"/>
            <ac:picMk id="5" creationId="{924AAAB2-634C-2808-3155-DE16D82EE3C6}"/>
          </ac:picMkLst>
        </pc:picChg>
      </pc:sldChg>
      <pc:sldChg chg="modSp">
        <pc:chgData name="Jiayi Deng" userId="S::jiayideng@uchicago.edu::1a00fe64-c1f9-48ee-8835-dcb79118203c" providerId="AD" clId="Web-{81062C3B-967A-4E04-B10A-194F00DFE795}" dt="2023-12-07T04:35:10.426" v="3" actId="1076"/>
        <pc:sldMkLst>
          <pc:docMk/>
          <pc:sldMk cId="1509561868" sldId="318"/>
        </pc:sldMkLst>
        <pc:spChg chg="mod">
          <ac:chgData name="Jiayi Deng" userId="S::jiayideng@uchicago.edu::1a00fe64-c1f9-48ee-8835-dcb79118203c" providerId="AD" clId="Web-{81062C3B-967A-4E04-B10A-194F00DFE795}" dt="2023-12-07T04:35:07.629" v="2" actId="1076"/>
          <ac:spMkLst>
            <pc:docMk/>
            <pc:sldMk cId="1509561868" sldId="318"/>
            <ac:spMk id="4" creationId="{4CFA0017-26A7-1BA3-905A-3EFB3A1AF7CD}"/>
          </ac:spMkLst>
        </pc:spChg>
        <pc:graphicFrameChg chg="mod">
          <ac:chgData name="Jiayi Deng" userId="S::jiayideng@uchicago.edu::1a00fe64-c1f9-48ee-8835-dcb79118203c" providerId="AD" clId="Web-{81062C3B-967A-4E04-B10A-194F00DFE795}" dt="2023-12-07T04:35:10.426" v="3" actId="1076"/>
          <ac:graphicFrameMkLst>
            <pc:docMk/>
            <pc:sldMk cId="1509561868" sldId="318"/>
            <ac:graphicFrameMk id="10" creationId="{9A7E940E-5790-1B39-34E9-8ADFA958BD35}"/>
          </ac:graphicFrameMkLst>
        </pc:graphicFrameChg>
      </pc:sldChg>
      <pc:sldChg chg="delSp add replId">
        <pc:chgData name="Jiayi Deng" userId="S::jiayideng@uchicago.edu::1a00fe64-c1f9-48ee-8835-dcb79118203c" providerId="AD" clId="Web-{81062C3B-967A-4E04-B10A-194F00DFE795}" dt="2023-12-07T04:43:33.787" v="16"/>
        <pc:sldMkLst>
          <pc:docMk/>
          <pc:sldMk cId="364185782" sldId="344"/>
        </pc:sldMkLst>
        <pc:picChg chg="del">
          <ac:chgData name="Jiayi Deng" userId="S::jiayideng@uchicago.edu::1a00fe64-c1f9-48ee-8835-dcb79118203c" providerId="AD" clId="Web-{81062C3B-967A-4E04-B10A-194F00DFE795}" dt="2023-12-07T04:43:33.787" v="16"/>
          <ac:picMkLst>
            <pc:docMk/>
            <pc:sldMk cId="364185782" sldId="344"/>
            <ac:picMk id="5" creationId="{924AAAB2-634C-2808-3155-DE16D82EE3C6}"/>
          </ac:picMkLst>
        </pc:picChg>
      </pc:sldChg>
    </pc:docChg>
  </pc:docChgLst>
  <pc:docChgLst>
    <pc:chgData name="Jiayi Deng" userId="S::jiayideng@uchicago.edu::1a00fe64-c1f9-48ee-8835-dcb79118203c" providerId="AD" clId="Web-{FCF774FB-7884-473D-901C-042EE6E6F8F9}"/>
    <pc:docChg chg="modSld">
      <pc:chgData name="Jiayi Deng" userId="S::jiayideng@uchicago.edu::1a00fe64-c1f9-48ee-8835-dcb79118203c" providerId="AD" clId="Web-{FCF774FB-7884-473D-901C-042EE6E6F8F9}" dt="2023-12-06T11:20:04.321" v="54" actId="20577"/>
      <pc:docMkLst>
        <pc:docMk/>
      </pc:docMkLst>
      <pc:sldChg chg="modSp">
        <pc:chgData name="Jiayi Deng" userId="S::jiayideng@uchicago.edu::1a00fe64-c1f9-48ee-8835-dcb79118203c" providerId="AD" clId="Web-{FCF774FB-7884-473D-901C-042EE6E6F8F9}" dt="2023-12-06T11:18:44.381" v="44" actId="20577"/>
        <pc:sldMkLst>
          <pc:docMk/>
          <pc:sldMk cId="0" sldId="263"/>
        </pc:sldMkLst>
        <pc:spChg chg="mod">
          <ac:chgData name="Jiayi Deng" userId="S::jiayideng@uchicago.edu::1a00fe64-c1f9-48ee-8835-dcb79118203c" providerId="AD" clId="Web-{FCF774FB-7884-473D-901C-042EE6E6F8F9}" dt="2023-12-06T11:18:44.381" v="44" actId="20577"/>
          <ac:spMkLst>
            <pc:docMk/>
            <pc:sldMk cId="0" sldId="263"/>
            <ac:spMk id="264" creationId="{00000000-0000-0000-0000-000000000000}"/>
          </ac:spMkLst>
        </pc:spChg>
      </pc:sldChg>
      <pc:sldChg chg="modSp">
        <pc:chgData name="Jiayi Deng" userId="S::jiayideng@uchicago.edu::1a00fe64-c1f9-48ee-8835-dcb79118203c" providerId="AD" clId="Web-{FCF774FB-7884-473D-901C-042EE6E6F8F9}" dt="2023-12-06T11:18:21.083" v="26" actId="20577"/>
        <pc:sldMkLst>
          <pc:docMk/>
          <pc:sldMk cId="2636963148" sldId="317"/>
        </pc:sldMkLst>
        <pc:spChg chg="mod">
          <ac:chgData name="Jiayi Deng" userId="S::jiayideng@uchicago.edu::1a00fe64-c1f9-48ee-8835-dcb79118203c" providerId="AD" clId="Web-{FCF774FB-7884-473D-901C-042EE6E6F8F9}" dt="2023-12-06T11:18:21.083" v="26" actId="20577"/>
          <ac:spMkLst>
            <pc:docMk/>
            <pc:sldMk cId="2636963148" sldId="317"/>
            <ac:spMk id="2" creationId="{F8D21FEE-55BC-A672-E7FA-EC6D037AED66}"/>
          </ac:spMkLst>
        </pc:spChg>
      </pc:sldChg>
      <pc:sldChg chg="addSp modSp">
        <pc:chgData name="Jiayi Deng" userId="S::jiayideng@uchicago.edu::1a00fe64-c1f9-48ee-8835-dcb79118203c" providerId="AD" clId="Web-{FCF774FB-7884-473D-901C-042EE6E6F8F9}" dt="2023-12-06T11:20:04.321" v="54" actId="20577"/>
        <pc:sldMkLst>
          <pc:docMk/>
          <pc:sldMk cId="4204675178" sldId="322"/>
        </pc:sldMkLst>
        <pc:spChg chg="add mod">
          <ac:chgData name="Jiayi Deng" userId="S::jiayideng@uchicago.edu::1a00fe64-c1f9-48ee-8835-dcb79118203c" providerId="AD" clId="Web-{FCF774FB-7884-473D-901C-042EE6E6F8F9}" dt="2023-12-06T11:20:04.321" v="54" actId="20577"/>
          <ac:spMkLst>
            <pc:docMk/>
            <pc:sldMk cId="4204675178" sldId="322"/>
            <ac:spMk id="4" creationId="{33C31457-A553-E078-65C9-B26444798AEA}"/>
          </ac:spMkLst>
        </pc:spChg>
      </pc:sldChg>
    </pc:docChg>
  </pc:docChgLst>
  <pc:docChgLst>
    <pc:chgData name="Jiayi Deng" userId="S::jiayideng@uchicago.edu::1a00fe64-c1f9-48ee-8835-dcb79118203c" providerId="AD" clId="Web-{8A3A2A9A-0BB4-4323-8D44-19D717389A33}"/>
    <pc:docChg chg="modSld">
      <pc:chgData name="Jiayi Deng" userId="S::jiayideng@uchicago.edu::1a00fe64-c1f9-48ee-8835-dcb79118203c" providerId="AD" clId="Web-{8A3A2A9A-0BB4-4323-8D44-19D717389A33}" dt="2023-12-08T08:19:53.679" v="30"/>
      <pc:docMkLst>
        <pc:docMk/>
      </pc:docMkLst>
      <pc:sldChg chg="modSp">
        <pc:chgData name="Jiayi Deng" userId="S::jiayideng@uchicago.edu::1a00fe64-c1f9-48ee-8835-dcb79118203c" providerId="AD" clId="Web-{8A3A2A9A-0BB4-4323-8D44-19D717389A33}" dt="2023-12-08T08:19:53.679" v="30"/>
        <pc:sldMkLst>
          <pc:docMk/>
          <pc:sldMk cId="0" sldId="264"/>
        </pc:sldMkLst>
        <pc:graphicFrameChg chg="mod modGraphic">
          <ac:chgData name="Jiayi Deng" userId="S::jiayideng@uchicago.edu::1a00fe64-c1f9-48ee-8835-dcb79118203c" providerId="AD" clId="Web-{8A3A2A9A-0BB4-4323-8D44-19D717389A33}" dt="2023-12-08T08:19:53.679" v="30"/>
          <ac:graphicFrameMkLst>
            <pc:docMk/>
            <pc:sldMk cId="0" sldId="264"/>
            <ac:graphicFrameMk id="14" creationId="{637BD348-5429-9306-8A9A-14F4929156F6}"/>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1250ed1553c_0_2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1250ed1553c_0_2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a:solidFill>
                  <a:srgbClr val="374151"/>
                </a:solidFill>
                <a:effectLst/>
                <a:latin typeface="Söhne"/>
              </a:rPr>
              <a:t>Thank you for joining us today. welcome to our exploration of how to enhance the e-commerce landscape through data-driven personalization.</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Google Shape;905;g1250ed1553c_0_6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6" name="Google Shape;906;g1250ed1553c_0_6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52951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gf8cf4f0f69_0_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5" name="Google Shape;545;gf8cf4f0f69_0_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24932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bd6c00e730_0_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bd6c00e730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1"/>
        <p:cNvGrpSpPr/>
        <p:nvPr/>
      </p:nvGrpSpPr>
      <p:grpSpPr>
        <a:xfrm>
          <a:off x="0" y="0"/>
          <a:ext cx="0" cy="0"/>
          <a:chOff x="0" y="0"/>
          <a:chExt cx="0" cy="0"/>
        </a:xfrm>
      </p:grpSpPr>
      <p:sp>
        <p:nvSpPr>
          <p:cNvPr id="832" name="Google Shape;832;g1250ed1553c_0_6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3" name="Google Shape;833;g1250ed1553c_0_6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4875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This slide show the demographic and how this data is shaping our strategic initiative</a:t>
            </a:r>
          </a:p>
          <a:p>
            <a:pPr algn="l"/>
            <a:r>
              <a:rPr lang="en-US" b="0" i="0">
                <a:solidFill>
                  <a:srgbClr val="374151"/>
                </a:solidFill>
                <a:effectLst/>
                <a:latin typeface="Söhne"/>
              </a:rPr>
              <a:t>On the left, The concentration of points clearly shows that a significant portion of our customers are located in the southern regions, highlighting a key area of engagement and opportunity for our business.</a:t>
            </a:r>
          </a:p>
          <a:p>
            <a:pPr algn="l"/>
            <a:r>
              <a:rPr lang="en-US" b="0" i="0">
                <a:solidFill>
                  <a:srgbClr val="374151"/>
                </a:solidFill>
                <a:effectLst/>
                <a:latin typeface="Söhne"/>
              </a:rPr>
              <a:t>Now, if we shift our focus to the right, we delve deeper into specifics with a state-by-state breakdown. Here, we can see that Sao Paulo stands out distinctly with the largest customer base, comprising 42% of our customers. That tells us where we should focus our marketing efforts, customer service enhancements, and potentially, our next physical storefront.</a:t>
            </a:r>
          </a:p>
          <a:p>
            <a:pPr algn="l"/>
            <a:r>
              <a:rPr lang="en-US" b="0" i="0">
                <a:solidFill>
                  <a:srgbClr val="374151"/>
                </a:solidFill>
                <a:effectLst/>
                <a:latin typeface="Söhne"/>
              </a:rPr>
              <a:t>Additionally, Understanding the density and distribution of our customers doesn't only help us serve them better—it allows us to predict market trends, customize our product offerings, and localize our services to resonate deeply with the cultural and regional preferences.</a:t>
            </a:r>
          </a:p>
          <a:p>
            <a:endParaRPr lang="en-US"/>
          </a:p>
        </p:txBody>
      </p:sp>
    </p:spTree>
    <p:extLst>
      <p:ext uri="{BB962C8B-B14F-4D97-AF65-F5344CB8AC3E}">
        <p14:creationId xmlns:p14="http://schemas.microsoft.com/office/powerpoint/2010/main" val="858677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i="0">
                <a:solidFill>
                  <a:srgbClr val="374151"/>
                </a:solidFill>
                <a:effectLst/>
                <a:latin typeface="Söhne"/>
              </a:rPr>
              <a:t>Our first chart shows that Sao Paulo is not just a state; it's the beating heart of our customer base with over 42% residing within its bounds. It shows the trust and preference that customers in Sao Paulo have in our services and offerings.</a:t>
            </a:r>
          </a:p>
          <a:p>
            <a:r>
              <a:rPr lang="en-US" b="0" i="0">
                <a:solidFill>
                  <a:srgbClr val="374151"/>
                </a:solidFill>
                <a:effectLst/>
                <a:latin typeface="Söhne"/>
              </a:rPr>
              <a:t>The second chart echoes this sentiment from the supply side, where an 70% of our sellers in Sao Paulo. This geographic clustering is more than convenient—it's a strategic advantage that has allowed us to streamline our supply chains and optimize delivery mechanisms to a degree of efficiency.</a:t>
            </a:r>
          </a:p>
          <a:p>
            <a:r>
              <a:rPr lang="en-US"/>
              <a:t>The implications of these figures are profound. we not only continue to nurture this fertile market but also use it as a testbed for innovation.</a:t>
            </a:r>
          </a:p>
        </p:txBody>
      </p:sp>
    </p:spTree>
    <p:extLst>
      <p:ext uri="{BB962C8B-B14F-4D97-AF65-F5344CB8AC3E}">
        <p14:creationId xmlns:p14="http://schemas.microsoft.com/office/powerpoint/2010/main" val="3599304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b="0" i="0">
                <a:effectLst/>
                <a:latin typeface="Inter"/>
              </a:rPr>
              <a:t>By the chart above we can conclude:</a:t>
            </a:r>
          </a:p>
          <a:p>
            <a:pPr algn="l">
              <a:buFont typeface="Arial" panose="020B0604020202020204" pitchFamily="34" charset="0"/>
              <a:buChar char="•"/>
            </a:pPr>
            <a:r>
              <a:rPr lang="en-US" b="0" i="0">
                <a:effectLst/>
                <a:latin typeface="Inter"/>
              </a:rPr>
              <a:t>E-commerce on Brazil really has a growing trend along the time. We can see some seasonality with peaks at specific months, but in general we can see clear that customers are more prone to buy things online than before.</a:t>
            </a:r>
          </a:p>
          <a:p>
            <a:pPr algn="l">
              <a:buFont typeface="Arial" panose="020B0604020202020204" pitchFamily="34" charset="0"/>
              <a:buChar char="•"/>
            </a:pPr>
            <a:r>
              <a:rPr lang="en-US" b="0" i="0">
                <a:effectLst/>
                <a:latin typeface="Inter"/>
              </a:rPr>
              <a:t>Monday are the </a:t>
            </a:r>
            <a:r>
              <a:rPr lang="en-US" b="0" i="0" err="1">
                <a:effectLst/>
                <a:latin typeface="Inter"/>
              </a:rPr>
              <a:t>prefered</a:t>
            </a:r>
            <a:r>
              <a:rPr lang="en-US" b="0" i="0">
                <a:effectLst/>
                <a:latin typeface="Inter"/>
              </a:rPr>
              <a:t> day for </a:t>
            </a:r>
            <a:r>
              <a:rPr lang="en-US" b="0" i="0" err="1">
                <a:effectLst/>
                <a:latin typeface="Inter"/>
              </a:rPr>
              <a:t>brazilian's</a:t>
            </a:r>
            <a:r>
              <a:rPr lang="en-US" b="0" i="0">
                <a:effectLst/>
                <a:latin typeface="Inter"/>
              </a:rPr>
              <a:t> customers and they tend to buy more at afternoon</a:t>
            </a:r>
          </a:p>
          <a:p>
            <a:pPr algn="l">
              <a:buFont typeface="Arial" panose="020B0604020202020204" pitchFamily="34" charset="0"/>
              <a:buChar char="•"/>
            </a:pPr>
            <a:endParaRPr lang="en-US" b="0" i="0">
              <a:effectLst/>
              <a:latin typeface="Inter"/>
            </a:endParaRPr>
          </a:p>
        </p:txBody>
      </p:sp>
    </p:spTree>
    <p:extLst>
      <p:ext uri="{BB962C8B-B14F-4D97-AF65-F5344CB8AC3E}">
        <p14:creationId xmlns:p14="http://schemas.microsoft.com/office/powerpoint/2010/main" val="2852277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g1250ed1553c_0_6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8" name="Google Shape;898;g1250ed1553c_0_6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797067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i="0">
                <a:solidFill>
                  <a:srgbClr val="374151"/>
                </a:solidFill>
                <a:effectLst/>
                <a:latin typeface="Söhne"/>
              </a:rPr>
              <a:t>our RFM Analysis, which is a cornerstone of our customer value approach for </a:t>
            </a:r>
            <a:r>
              <a:rPr lang="en-US" b="0" i="0" err="1">
                <a:solidFill>
                  <a:srgbClr val="374151"/>
                </a:solidFill>
                <a:effectLst/>
                <a:latin typeface="Söhne"/>
              </a:rPr>
              <a:t>Olist</a:t>
            </a:r>
            <a:r>
              <a:rPr lang="en-US" b="0" i="0">
                <a:solidFill>
                  <a:srgbClr val="374151"/>
                </a:solidFill>
                <a:effectLst/>
                <a:latin typeface="Söhne"/>
              </a:rPr>
              <a:t>. RFM stands for Recency, Frequency, and Monetary value. Recency tells us how recent the last purchase was, giving us insight into the customer's engagement level. Frequency shows us how often a customer shops, indicating their loyalty. Lastly, Monetary value indicates the total spend, helping us </a:t>
            </a:r>
            <a:r>
              <a:rPr lang="en-US" altLang="zh-CN" b="0" i="0">
                <a:solidFill>
                  <a:srgbClr val="374151"/>
                </a:solidFill>
                <a:effectLst/>
                <a:latin typeface="Söhne"/>
              </a:rPr>
              <a:t>know</a:t>
            </a:r>
            <a:r>
              <a:rPr lang="en-US" b="0" i="0">
                <a:solidFill>
                  <a:srgbClr val="374151"/>
                </a:solidFill>
                <a:effectLst/>
                <a:latin typeface="Söhne"/>
              </a:rPr>
              <a:t> the customer's value. Our data is filtered to reflect only completed orders, ensuring a precise analysis. We've used Python to calculate these metrics, allowing us to segment customers effectively and strategize accordingly."</a:t>
            </a:r>
            <a:endParaRPr lang="en-US"/>
          </a:p>
        </p:txBody>
      </p:sp>
    </p:spTree>
    <p:extLst>
      <p:ext uri="{BB962C8B-B14F-4D97-AF65-F5344CB8AC3E}">
        <p14:creationId xmlns:p14="http://schemas.microsoft.com/office/powerpoint/2010/main" val="42039751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Moving to customer segmentation, we've identified key groups within </a:t>
            </a:r>
            <a:r>
              <a:rPr lang="en-US" b="0" i="0" err="1">
                <a:solidFill>
                  <a:srgbClr val="374151"/>
                </a:solidFill>
                <a:effectLst/>
                <a:latin typeface="Söhne"/>
              </a:rPr>
              <a:t>Olist's</a:t>
            </a:r>
            <a:r>
              <a:rPr lang="en-US" b="0" i="0">
                <a:solidFill>
                  <a:srgbClr val="374151"/>
                </a:solidFill>
                <a:effectLst/>
                <a:latin typeface="Söhne"/>
              </a:rPr>
              <a:t> customer base. Our segments range from 'Can't Lose Them,' our most engaged and high-spending customers, to 'Promising,' who are recent but lower in frequency and spend. Particularly, we see a substantial 'Potential' segment, making up 24% of our base. These customers, with moderate RFM scores, show promise for increased loyalty and spending. Our strategy here focuses on converting this potential into loyal customers through targeted marketing and personalized engagement."</a:t>
            </a:r>
          </a:p>
        </p:txBody>
      </p:sp>
    </p:spTree>
    <p:extLst>
      <p:ext uri="{BB962C8B-B14F-4D97-AF65-F5344CB8AC3E}">
        <p14:creationId xmlns:p14="http://schemas.microsoft.com/office/powerpoint/2010/main" val="3859353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28ff149f8d0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28ff149f8d0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a:solidFill>
                  <a:srgbClr val="374151"/>
                </a:solidFill>
                <a:effectLst/>
                <a:latin typeface="Söhne"/>
              </a:rPr>
              <a:t>As we stand at the forefront of e-commerce, our team is dedicated to enhancing the online shopping experience for every customer. With the expertise of our talented team members, Jessy, Serena, </a:t>
            </a:r>
            <a:r>
              <a:rPr lang="en-US" b="0" i="0" err="1">
                <a:solidFill>
                  <a:srgbClr val="374151"/>
                </a:solidFill>
                <a:effectLst/>
                <a:latin typeface="Söhne"/>
              </a:rPr>
              <a:t>Yiwen</a:t>
            </a:r>
            <a:r>
              <a:rPr lang="en-US" b="0" i="0">
                <a:solidFill>
                  <a:srgbClr val="374151"/>
                </a:solidFill>
                <a:effectLst/>
                <a:latin typeface="Söhne"/>
              </a:rPr>
              <a:t>, and </a:t>
            </a:r>
            <a:r>
              <a:rPr lang="en-US" b="0" i="0" err="1">
                <a:solidFill>
                  <a:srgbClr val="374151"/>
                </a:solidFill>
                <a:effectLst/>
                <a:latin typeface="Söhne"/>
              </a:rPr>
              <a:t>Jiayi</a:t>
            </a:r>
            <a:r>
              <a:rPr lang="en-US" b="0" i="0">
                <a:solidFill>
                  <a:srgbClr val="374151"/>
                </a:solidFill>
                <a:effectLst/>
                <a:latin typeface="Söhne"/>
              </a:rPr>
              <a:t>, we are pushing the boundaries of innovation in e-commerce recommendation systems.</a:t>
            </a: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Each segment warrants a tailored approach. For example, our most loyal customers surprisingly have the lowest average review scores. This tells us there's an opportunity to enhance their satisfaction. We aim to do this by soliciting feedback, showing we value their opinion, and by offering exclusive loyalty programs or VIP status. Such initiatives not only acknowledge their importance but also encourage continued engagement and spending."</a:t>
            </a:r>
          </a:p>
          <a:p>
            <a:br>
              <a:rPr lang="en-US"/>
            </a:br>
            <a:endParaRPr lang="en-US"/>
          </a:p>
        </p:txBody>
      </p:sp>
    </p:spTree>
    <p:extLst>
      <p:ext uri="{BB962C8B-B14F-4D97-AF65-F5344CB8AC3E}">
        <p14:creationId xmlns:p14="http://schemas.microsoft.com/office/powerpoint/2010/main" val="41633208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i="0">
                <a:solidFill>
                  <a:srgbClr val="374151"/>
                </a:solidFill>
                <a:effectLst/>
                <a:latin typeface="Söhne"/>
              </a:rPr>
              <a:t>"Finally, we look at the purchase behavior of our 'Loyal' and 'Promising' segments. We've noted that certain categories like furniture, bed &amp; bath, and sports see more frequent purchases. This insight is pivotal. We'll tailor our incentives, such as loyalty discounts or rewards, around these categories. Additionally, we plan to roll out personalized email campaigns, showcasing products similar to past purchases, to reinforce the connection between customer interests and our offerings. This strategy is designed to enhance customer retention and increase sales."</a:t>
            </a:r>
            <a:br>
              <a:rPr lang="en-US"/>
            </a:br>
            <a:endParaRPr lang="en-US"/>
          </a:p>
        </p:txBody>
      </p:sp>
    </p:spTree>
    <p:extLst>
      <p:ext uri="{BB962C8B-B14F-4D97-AF65-F5344CB8AC3E}">
        <p14:creationId xmlns:p14="http://schemas.microsoft.com/office/powerpoint/2010/main" val="25350733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8"/>
        <p:cNvGrpSpPr/>
        <p:nvPr/>
      </p:nvGrpSpPr>
      <p:grpSpPr>
        <a:xfrm>
          <a:off x="0" y="0"/>
          <a:ext cx="0" cy="0"/>
          <a:chOff x="0" y="0"/>
          <a:chExt cx="0" cy="0"/>
        </a:xfrm>
      </p:grpSpPr>
      <p:sp>
        <p:nvSpPr>
          <p:cNvPr id="959" name="Google Shape;959;g1250ed1553c_0_6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0" name="Google Shape;960;g1250ed1553c_0_6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70931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3694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6"/>
        <p:cNvGrpSpPr/>
        <p:nvPr/>
      </p:nvGrpSpPr>
      <p:grpSpPr>
        <a:xfrm>
          <a:off x="0" y="0"/>
          <a:ext cx="0" cy="0"/>
          <a:chOff x="0" y="0"/>
          <a:chExt cx="0" cy="0"/>
        </a:xfrm>
      </p:grpSpPr>
      <p:sp>
        <p:nvSpPr>
          <p:cNvPr id="1297" name="Google Shape;1297;gd6fc454c64_1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98" name="Google Shape;1298;gd6fc454c64_1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347365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9207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1. Is there any growing trend on </a:t>
            </a:r>
            <a:r>
              <a:rPr lang="en-US" err="1"/>
              <a:t>brazilian</a:t>
            </a:r>
            <a:r>
              <a:rPr lang="en-US"/>
              <a:t> e-commerce? </a:t>
            </a:r>
          </a:p>
          <a:p>
            <a:r>
              <a:rPr lang="en-US"/>
              <a:t>2. On what day of week </a:t>
            </a:r>
            <a:r>
              <a:rPr lang="en-US" err="1"/>
              <a:t>brazilians</a:t>
            </a:r>
            <a:r>
              <a:rPr lang="en-US"/>
              <a:t> customers tend to do online purchasing? </a:t>
            </a:r>
          </a:p>
          <a:p>
            <a:r>
              <a:rPr lang="en-US"/>
              <a:t>3. What time </a:t>
            </a:r>
            <a:r>
              <a:rPr lang="en-US" err="1"/>
              <a:t>brazilians</a:t>
            </a:r>
            <a:r>
              <a:rPr lang="en-US"/>
              <a:t> customers tend do buy (Dawn, Morning, Afternoon or Night)?</a:t>
            </a:r>
          </a:p>
          <a:p>
            <a:endParaRPr lang="en-US"/>
          </a:p>
          <a:p>
            <a:r>
              <a:rPr lang="en-US" sz="1100" b="0">
                <a:solidFill>
                  <a:schemeClr val="bg1"/>
                </a:solidFill>
                <a:effectLst/>
                <a:latin typeface="Menlo" panose="020B0609030804020204" pitchFamily="49" charset="0"/>
              </a:rPr>
              <a:t>More than 73.5% of all sales are the Payment type is Credit Card.</a:t>
            </a:r>
          </a:p>
          <a:p>
            <a:r>
              <a:rPr lang="en-US" sz="1100" b="0">
                <a:solidFill>
                  <a:schemeClr val="bg1"/>
                </a:solidFill>
                <a:effectLst/>
                <a:latin typeface="Menlo" panose="020B0609030804020204" pitchFamily="49" charset="0"/>
              </a:rPr>
              <a:t>Second most common Payment Type is "</a:t>
            </a:r>
            <a:r>
              <a:rPr lang="en-US" sz="1100" b="0" err="1">
                <a:solidFill>
                  <a:schemeClr val="bg1"/>
                </a:solidFill>
                <a:effectLst/>
                <a:latin typeface="Menlo" panose="020B0609030804020204" pitchFamily="49" charset="0"/>
              </a:rPr>
              <a:t>boleto</a:t>
            </a:r>
            <a:r>
              <a:rPr lang="en-US" sz="1100" b="0">
                <a:solidFill>
                  <a:schemeClr val="bg1"/>
                </a:solidFill>
                <a:effectLst/>
                <a:latin typeface="Menlo" panose="020B0609030804020204" pitchFamily="49" charset="0"/>
              </a:rPr>
              <a:t>"(invoice) with almost 19.5%.</a:t>
            </a:r>
          </a:p>
          <a:p>
            <a:r>
              <a:rPr lang="en-US" sz="1100" b="0">
                <a:solidFill>
                  <a:schemeClr val="bg1"/>
                </a:solidFill>
                <a:effectLst/>
                <a:latin typeface="Menlo" panose="020B0609030804020204" pitchFamily="49" charset="0"/>
              </a:rPr>
              <a:t>The third more common payment type is voucher with 5.43%.</a:t>
            </a:r>
          </a:p>
          <a:p>
            <a:r>
              <a:rPr lang="en-US" sz="1100" b="0">
                <a:solidFill>
                  <a:schemeClr val="bg1"/>
                </a:solidFill>
                <a:effectLst/>
                <a:latin typeface="Menlo" panose="020B0609030804020204" pitchFamily="49" charset="0"/>
              </a:rPr>
              <a:t>We also have some payments from debit card and only 3 sales to </a:t>
            </a:r>
            <a:r>
              <a:rPr lang="en-US" sz="1100" b="0" err="1">
                <a:solidFill>
                  <a:schemeClr val="bg1"/>
                </a:solidFill>
                <a:effectLst/>
                <a:latin typeface="Menlo" panose="020B0609030804020204" pitchFamily="49" charset="0"/>
              </a:rPr>
              <a:t>not_defined</a:t>
            </a:r>
            <a:endParaRPr lang="en-US" sz="1100" b="0">
              <a:solidFill>
                <a:schemeClr val="bg1"/>
              </a:solidFill>
              <a:effectLst/>
              <a:latin typeface="Menlo" panose="020B0609030804020204" pitchFamily="49" charset="0"/>
            </a:endParaRPr>
          </a:p>
          <a:p>
            <a:endParaRPr lang="en-US"/>
          </a:p>
        </p:txBody>
      </p:sp>
    </p:spTree>
    <p:extLst>
      <p:ext uri="{BB962C8B-B14F-4D97-AF65-F5344CB8AC3E}">
        <p14:creationId xmlns:p14="http://schemas.microsoft.com/office/powerpoint/2010/main" val="2053559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99f2f57a71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 name="Google Shape;194;g99f2f57a71_0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Here’s our agenda, which conduct into 6 parts.</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99f2f57a71_0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99f2f57a71_0_2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a:solidFill>
                  <a:srgbClr val="374151"/>
                </a:solidFill>
                <a:effectLst/>
                <a:latin typeface="Söhne"/>
              </a:rPr>
              <a:t>Our journey today begins with an executive summary.</a:t>
            </a: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g99f2f57a71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4" name="Google Shape;224;g99f2f57a71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a:solidFill>
                  <a:srgbClr val="374151"/>
                </a:solidFill>
                <a:effectLst/>
                <a:latin typeface="Söhne"/>
              </a:rPr>
              <a:t>Our expedition through data has been comprehensive, leveraging a robust Kaggle dataset enriched by Brazil's economic indicators. Our analysis has been meticulous, adopting the RFM methodology to segment customers, thereby sharpening our understanding of their shopping habits. The end goal is to arm </a:t>
            </a:r>
            <a:r>
              <a:rPr lang="en-US" b="0" i="0" err="1">
                <a:solidFill>
                  <a:srgbClr val="374151"/>
                </a:solidFill>
                <a:effectLst/>
                <a:latin typeface="Söhne"/>
              </a:rPr>
              <a:t>Olist</a:t>
            </a:r>
            <a:r>
              <a:rPr lang="en-US" b="0" i="0">
                <a:solidFill>
                  <a:srgbClr val="374151"/>
                </a:solidFill>
                <a:effectLst/>
                <a:latin typeface="Söhne"/>
              </a:rPr>
              <a:t> with strategies that enhance their product portfolio, elevate marketing precision, and boost sales performance. </a:t>
            </a: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gbd6c00e730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7" name="Google Shape;217;gbd6c00e730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a:solidFill>
                  <a:srgbClr val="374151"/>
                </a:solidFill>
                <a:effectLst/>
                <a:latin typeface="Söhne"/>
              </a:rPr>
              <a:t>Here’s our </a:t>
            </a:r>
            <a:r>
              <a:rPr lang="en-US" b="0" i="0" err="1">
                <a:solidFill>
                  <a:srgbClr val="374151"/>
                </a:solidFill>
                <a:effectLst/>
                <a:latin typeface="Söhne"/>
              </a:rPr>
              <a:t>reseach</a:t>
            </a:r>
            <a:r>
              <a:rPr lang="en-US" b="0" i="0">
                <a:solidFill>
                  <a:srgbClr val="374151"/>
                </a:solidFill>
                <a:effectLst/>
                <a:latin typeface="Söhne"/>
              </a:rPr>
              <a:t> objectives, where we've analyzed vast datasets to understand </a:t>
            </a:r>
            <a:r>
              <a:rPr lang="en-US" b="0" i="0" err="1">
                <a:solidFill>
                  <a:srgbClr val="374151"/>
                </a:solidFill>
                <a:effectLst/>
                <a:latin typeface="Söhne"/>
              </a:rPr>
              <a:t>Olist's</a:t>
            </a:r>
            <a:r>
              <a:rPr lang="en-US" b="0" i="0">
                <a:solidFill>
                  <a:srgbClr val="374151"/>
                </a:solidFill>
                <a:effectLst/>
                <a:latin typeface="Söhne"/>
              </a:rPr>
              <a:t> consumer behaviors and sales trends. Our RFM analysis segments customers, enhancing targeting precision. We've integrated macroeconomic insights, crucial for adapting to market shifts. Our goal is to provide strategic recommendations that propel </a:t>
            </a:r>
            <a:r>
              <a:rPr lang="en-US" b="0" i="0" err="1">
                <a:solidFill>
                  <a:srgbClr val="374151"/>
                </a:solidFill>
                <a:effectLst/>
                <a:latin typeface="Söhne"/>
              </a:rPr>
              <a:t>Olist's</a:t>
            </a:r>
            <a:r>
              <a:rPr lang="en-US" b="0" i="0">
                <a:solidFill>
                  <a:srgbClr val="374151"/>
                </a:solidFill>
                <a:effectLst/>
                <a:latin typeface="Söhne"/>
              </a:rPr>
              <a:t> market position in dynamic digital marketplace</a:t>
            </a:r>
            <a:endParaRPr/>
          </a:p>
        </p:txBody>
      </p:sp>
    </p:spTree>
    <p:extLst>
      <p:ext uri="{BB962C8B-B14F-4D97-AF65-F5344CB8AC3E}">
        <p14:creationId xmlns:p14="http://schemas.microsoft.com/office/powerpoint/2010/main" val="2606161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In this segment, we spotlight the business use case for </a:t>
            </a:r>
            <a:r>
              <a:rPr lang="en-US" b="0" i="0" err="1">
                <a:solidFill>
                  <a:srgbClr val="374151"/>
                </a:solidFill>
                <a:effectLst/>
                <a:latin typeface="Söhne"/>
              </a:rPr>
              <a:t>Olist</a:t>
            </a:r>
            <a:endParaRPr lang="en-US" b="0" i="0">
              <a:solidFill>
                <a:srgbClr val="374151"/>
              </a:solidFill>
              <a:effectLst/>
              <a:latin typeface="Söhne"/>
            </a:endParaRPr>
          </a:p>
          <a:p>
            <a:pPr algn="l"/>
            <a:r>
              <a:rPr lang="en-US" b="0" i="0">
                <a:solidFill>
                  <a:srgbClr val="374151"/>
                </a:solidFill>
                <a:effectLst/>
                <a:latin typeface="Söhne"/>
              </a:rPr>
              <a:t>For sellers on the platform, the focus is on driving sales and reducing costs. And for our customers, we're leveraging data to transform their shopping journey, making it more efficient, personalized, and satisfying</a:t>
            </a:r>
          </a:p>
          <a:p>
            <a:endParaRPr lang="en-US"/>
          </a:p>
        </p:txBody>
      </p:sp>
    </p:spTree>
    <p:extLst>
      <p:ext uri="{BB962C8B-B14F-4D97-AF65-F5344CB8AC3E}">
        <p14:creationId xmlns:p14="http://schemas.microsoft.com/office/powerpoint/2010/main" val="1376135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1"/>
        <p:cNvGrpSpPr/>
        <p:nvPr/>
      </p:nvGrpSpPr>
      <p:grpSpPr>
        <a:xfrm>
          <a:off x="0" y="0"/>
          <a:ext cx="0" cy="0"/>
          <a:chOff x="0" y="0"/>
          <a:chExt cx="0" cy="0"/>
        </a:xfrm>
      </p:grpSpPr>
      <p:sp>
        <p:nvSpPr>
          <p:cNvPr id="312" name="Google Shape;312;gf8cf4f0f69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3" name="Google Shape;313;gf8cf4f0f69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bd6c00e730_0_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7" name="Google Shape;267;gbd6c00e730_0_1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gradFill>
          <a:gsLst>
            <a:gs pos="0">
              <a:schemeClr val="dk2"/>
            </a:gs>
            <a:gs pos="100000">
              <a:schemeClr val="lt2"/>
            </a:gs>
          </a:gsLst>
          <a:lin ang="2700006" scaled="0"/>
        </a:gradFill>
        <a:effectLst/>
      </p:bgPr>
    </p:bg>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525950" y="1234553"/>
            <a:ext cx="4066200" cy="2067900"/>
          </a:xfrm>
          <a:prstGeom prst="rect">
            <a:avLst/>
          </a:prstGeom>
        </p:spPr>
        <p:txBody>
          <a:bodyPr spcFirstLastPara="1" wrap="square" lIns="91425" tIns="91425" rIns="91425" bIns="91425" anchor="ctr" anchorCtr="0">
            <a:noAutofit/>
          </a:bodyPr>
          <a:lstStyle>
            <a:lvl1pPr lvl="0" algn="ctr">
              <a:lnSpc>
                <a:spcPct val="80000"/>
              </a:lnSpc>
              <a:spcBef>
                <a:spcPts val="0"/>
              </a:spcBef>
              <a:spcAft>
                <a:spcPts val="0"/>
              </a:spcAft>
              <a:buSzPts val="5200"/>
              <a:buNone/>
              <a:defRPr sz="60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713100" y="3459150"/>
            <a:ext cx="3879000" cy="429900"/>
          </a:xfrm>
          <a:prstGeom prst="rect">
            <a:avLst/>
          </a:prstGeom>
          <a:no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lvl1pPr lvl="0" algn="ctr">
              <a:lnSpc>
                <a:spcPct val="100000"/>
              </a:lnSpc>
              <a:spcBef>
                <a:spcPts val="0"/>
              </a:spcBef>
              <a:spcAft>
                <a:spcPts val="0"/>
              </a:spcAft>
              <a:buClr>
                <a:schemeClr val="accent2"/>
              </a:buClr>
              <a:buSzPts val="1400"/>
              <a:buNone/>
              <a:defRPr sz="1600"/>
            </a:lvl1pPr>
            <a:lvl2pPr lvl="1" algn="ctr">
              <a:lnSpc>
                <a:spcPct val="100000"/>
              </a:lnSpc>
              <a:spcBef>
                <a:spcPts val="0"/>
              </a:spcBef>
              <a:spcAft>
                <a:spcPts val="0"/>
              </a:spcAft>
              <a:buSzPts val="1800"/>
              <a:buNone/>
              <a:defRPr sz="1800"/>
            </a:lvl2pPr>
            <a:lvl3pPr lvl="2" algn="ctr">
              <a:lnSpc>
                <a:spcPct val="100000"/>
              </a:lnSpc>
              <a:spcBef>
                <a:spcPts val="0"/>
              </a:spcBef>
              <a:spcAft>
                <a:spcPts val="0"/>
              </a:spcAft>
              <a:buSzPts val="1800"/>
              <a:buNone/>
              <a:defRPr sz="1800"/>
            </a:lvl3pPr>
            <a:lvl4pPr lvl="3" algn="ctr">
              <a:lnSpc>
                <a:spcPct val="100000"/>
              </a:lnSpc>
              <a:spcBef>
                <a:spcPts val="0"/>
              </a:spcBef>
              <a:spcAft>
                <a:spcPts val="0"/>
              </a:spcAft>
              <a:buSzPts val="1800"/>
              <a:buNone/>
              <a:defRPr sz="1800"/>
            </a:lvl4pPr>
            <a:lvl5pPr lvl="4" algn="ctr">
              <a:lnSpc>
                <a:spcPct val="100000"/>
              </a:lnSpc>
              <a:spcBef>
                <a:spcPts val="0"/>
              </a:spcBef>
              <a:spcAft>
                <a:spcPts val="0"/>
              </a:spcAft>
              <a:buSzPts val="1800"/>
              <a:buNone/>
              <a:defRPr sz="1800"/>
            </a:lvl5pPr>
            <a:lvl6pPr lvl="5" algn="ctr">
              <a:lnSpc>
                <a:spcPct val="100000"/>
              </a:lnSpc>
              <a:spcBef>
                <a:spcPts val="0"/>
              </a:spcBef>
              <a:spcAft>
                <a:spcPts val="0"/>
              </a:spcAft>
              <a:buSzPts val="1800"/>
              <a:buNone/>
              <a:defRPr sz="1800"/>
            </a:lvl6pPr>
            <a:lvl7pPr lvl="6" algn="ctr">
              <a:lnSpc>
                <a:spcPct val="100000"/>
              </a:lnSpc>
              <a:spcBef>
                <a:spcPts val="0"/>
              </a:spcBef>
              <a:spcAft>
                <a:spcPts val="0"/>
              </a:spcAft>
              <a:buSzPts val="1800"/>
              <a:buNone/>
              <a:defRPr sz="1800"/>
            </a:lvl7pPr>
            <a:lvl8pPr lvl="7" algn="ctr">
              <a:lnSpc>
                <a:spcPct val="100000"/>
              </a:lnSpc>
              <a:spcBef>
                <a:spcPts val="0"/>
              </a:spcBef>
              <a:spcAft>
                <a:spcPts val="0"/>
              </a:spcAft>
              <a:buSzPts val="1800"/>
              <a:buNone/>
              <a:defRPr sz="1800"/>
            </a:lvl8pPr>
            <a:lvl9pPr lvl="8" algn="ctr">
              <a:lnSpc>
                <a:spcPct val="100000"/>
              </a:lnSpc>
              <a:spcBef>
                <a:spcPts val="0"/>
              </a:spcBef>
              <a:spcAft>
                <a:spcPts val="0"/>
              </a:spcAft>
              <a:buSzPts val="1800"/>
              <a:buNone/>
              <a:defRPr sz="1800"/>
            </a:lvl9pPr>
          </a:lstStyle>
          <a:p>
            <a:endParaRPr/>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header 1">
  <p:cSld name="CUSTOM_10">
    <p:bg>
      <p:bgPr>
        <a:gradFill>
          <a:gsLst>
            <a:gs pos="0">
              <a:schemeClr val="dk2"/>
            </a:gs>
            <a:gs pos="100000">
              <a:schemeClr val="lt2"/>
            </a:gs>
          </a:gsLst>
          <a:lin ang="18900044" scaled="0"/>
        </a:gradFill>
        <a:effectLst/>
      </p:bgPr>
    </p:bg>
    <p:spTree>
      <p:nvGrpSpPr>
        <p:cNvPr id="1" name="Shape 63"/>
        <p:cNvGrpSpPr/>
        <p:nvPr/>
      </p:nvGrpSpPr>
      <p:grpSpPr>
        <a:xfrm>
          <a:off x="0" y="0"/>
          <a:ext cx="0" cy="0"/>
          <a:chOff x="0" y="0"/>
          <a:chExt cx="0" cy="0"/>
        </a:xfrm>
      </p:grpSpPr>
      <p:sp>
        <p:nvSpPr>
          <p:cNvPr id="64" name="Google Shape;64;p15"/>
          <p:cNvSpPr txBox="1">
            <a:spLocks noGrp="1"/>
          </p:cNvSpPr>
          <p:nvPr>
            <p:ph type="title"/>
          </p:nvPr>
        </p:nvSpPr>
        <p:spPr>
          <a:xfrm>
            <a:off x="4387800" y="2393650"/>
            <a:ext cx="4043100" cy="1457400"/>
          </a:xfrm>
          <a:prstGeom prst="rect">
            <a:avLst/>
          </a:prstGeom>
        </p:spPr>
        <p:txBody>
          <a:bodyPr spcFirstLastPara="1" wrap="square" lIns="91425" tIns="91425" rIns="91425" bIns="91425" anchor="ctr" anchorCtr="0">
            <a:noAutofit/>
          </a:bodyPr>
          <a:lstStyle>
            <a:lvl1pPr lvl="0" algn="ctr" rtl="0">
              <a:lnSpc>
                <a:spcPct val="80000"/>
              </a:lnSpc>
              <a:spcBef>
                <a:spcPts val="0"/>
              </a:spcBef>
              <a:spcAft>
                <a:spcPts val="0"/>
              </a:spcAft>
              <a:buSzPts val="3600"/>
              <a:buNone/>
              <a:defRPr sz="5000"/>
            </a:lvl1pPr>
            <a:lvl2pPr lvl="1" algn="r" rtl="0">
              <a:spcBef>
                <a:spcPts val="0"/>
              </a:spcBef>
              <a:spcAft>
                <a:spcPts val="0"/>
              </a:spcAft>
              <a:buSzPts val="3600"/>
              <a:buNone/>
              <a:defRPr sz="3600"/>
            </a:lvl2pPr>
            <a:lvl3pPr lvl="2" algn="r" rtl="0">
              <a:spcBef>
                <a:spcPts val="0"/>
              </a:spcBef>
              <a:spcAft>
                <a:spcPts val="0"/>
              </a:spcAft>
              <a:buSzPts val="3600"/>
              <a:buNone/>
              <a:defRPr sz="3600"/>
            </a:lvl3pPr>
            <a:lvl4pPr lvl="3" algn="r" rtl="0">
              <a:spcBef>
                <a:spcPts val="0"/>
              </a:spcBef>
              <a:spcAft>
                <a:spcPts val="0"/>
              </a:spcAft>
              <a:buSzPts val="3600"/>
              <a:buNone/>
              <a:defRPr sz="3600"/>
            </a:lvl4pPr>
            <a:lvl5pPr lvl="4" algn="r" rtl="0">
              <a:spcBef>
                <a:spcPts val="0"/>
              </a:spcBef>
              <a:spcAft>
                <a:spcPts val="0"/>
              </a:spcAft>
              <a:buSzPts val="3600"/>
              <a:buNone/>
              <a:defRPr sz="3600"/>
            </a:lvl5pPr>
            <a:lvl6pPr lvl="5" algn="r" rtl="0">
              <a:spcBef>
                <a:spcPts val="0"/>
              </a:spcBef>
              <a:spcAft>
                <a:spcPts val="0"/>
              </a:spcAft>
              <a:buSzPts val="3600"/>
              <a:buNone/>
              <a:defRPr sz="3600"/>
            </a:lvl6pPr>
            <a:lvl7pPr lvl="6" algn="r" rtl="0">
              <a:spcBef>
                <a:spcPts val="0"/>
              </a:spcBef>
              <a:spcAft>
                <a:spcPts val="0"/>
              </a:spcAft>
              <a:buSzPts val="3600"/>
              <a:buNone/>
              <a:defRPr sz="3600"/>
            </a:lvl7pPr>
            <a:lvl8pPr lvl="7" algn="r" rtl="0">
              <a:spcBef>
                <a:spcPts val="0"/>
              </a:spcBef>
              <a:spcAft>
                <a:spcPts val="0"/>
              </a:spcAft>
              <a:buSzPts val="3600"/>
              <a:buNone/>
              <a:defRPr sz="3600"/>
            </a:lvl8pPr>
            <a:lvl9pPr lvl="8" algn="r" rtl="0">
              <a:spcBef>
                <a:spcPts val="0"/>
              </a:spcBef>
              <a:spcAft>
                <a:spcPts val="0"/>
              </a:spcAft>
              <a:buSzPts val="3600"/>
              <a:buNone/>
              <a:defRPr sz="3600"/>
            </a:lvl9pPr>
          </a:lstStyle>
          <a:p>
            <a:endParaRPr/>
          </a:p>
        </p:txBody>
      </p:sp>
      <p:sp>
        <p:nvSpPr>
          <p:cNvPr id="65" name="Google Shape;65;p15"/>
          <p:cNvSpPr txBox="1">
            <a:spLocks noGrp="1"/>
          </p:cNvSpPr>
          <p:nvPr>
            <p:ph type="title" idx="2" hasCustomPrompt="1"/>
          </p:nvPr>
        </p:nvSpPr>
        <p:spPr>
          <a:xfrm>
            <a:off x="5782950" y="1027350"/>
            <a:ext cx="1252800" cy="12510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2"/>
                </a:solidFill>
              </a:defRPr>
            </a:lvl1pPr>
            <a:lvl2pPr lvl="1" algn="r" rtl="0">
              <a:spcBef>
                <a:spcPts val="0"/>
              </a:spcBef>
              <a:spcAft>
                <a:spcPts val="0"/>
              </a:spcAft>
              <a:buSzPts val="6000"/>
              <a:buNone/>
              <a:defRPr sz="6000"/>
            </a:lvl2pPr>
            <a:lvl3pPr lvl="2" algn="r" rtl="0">
              <a:spcBef>
                <a:spcPts val="0"/>
              </a:spcBef>
              <a:spcAft>
                <a:spcPts val="0"/>
              </a:spcAft>
              <a:buSzPts val="6000"/>
              <a:buNone/>
              <a:defRPr sz="6000"/>
            </a:lvl3pPr>
            <a:lvl4pPr lvl="3" algn="r" rtl="0">
              <a:spcBef>
                <a:spcPts val="0"/>
              </a:spcBef>
              <a:spcAft>
                <a:spcPts val="0"/>
              </a:spcAft>
              <a:buSzPts val="6000"/>
              <a:buNone/>
              <a:defRPr sz="6000"/>
            </a:lvl4pPr>
            <a:lvl5pPr lvl="4" algn="r" rtl="0">
              <a:spcBef>
                <a:spcPts val="0"/>
              </a:spcBef>
              <a:spcAft>
                <a:spcPts val="0"/>
              </a:spcAft>
              <a:buSzPts val="6000"/>
              <a:buNone/>
              <a:defRPr sz="6000"/>
            </a:lvl5pPr>
            <a:lvl6pPr lvl="5" algn="r" rtl="0">
              <a:spcBef>
                <a:spcPts val="0"/>
              </a:spcBef>
              <a:spcAft>
                <a:spcPts val="0"/>
              </a:spcAft>
              <a:buSzPts val="6000"/>
              <a:buNone/>
              <a:defRPr sz="6000"/>
            </a:lvl6pPr>
            <a:lvl7pPr lvl="6" algn="r" rtl="0">
              <a:spcBef>
                <a:spcPts val="0"/>
              </a:spcBef>
              <a:spcAft>
                <a:spcPts val="0"/>
              </a:spcAft>
              <a:buSzPts val="6000"/>
              <a:buNone/>
              <a:defRPr sz="6000"/>
            </a:lvl7pPr>
            <a:lvl8pPr lvl="7" algn="r" rtl="0">
              <a:spcBef>
                <a:spcPts val="0"/>
              </a:spcBef>
              <a:spcAft>
                <a:spcPts val="0"/>
              </a:spcAft>
              <a:buSzPts val="6000"/>
              <a:buNone/>
              <a:defRPr sz="6000"/>
            </a:lvl8pPr>
            <a:lvl9pPr lvl="8" algn="r" rtl="0">
              <a:spcBef>
                <a:spcPts val="0"/>
              </a:spcBef>
              <a:spcAft>
                <a:spcPts val="0"/>
              </a:spcAft>
              <a:buSzPts val="6000"/>
              <a:buNone/>
              <a:defRPr sz="6000"/>
            </a:lvl9pPr>
          </a:lstStyle>
          <a:p>
            <a:r>
              <a:t>xx%</a:t>
            </a:r>
          </a:p>
        </p:txBody>
      </p:sp>
      <p:sp>
        <p:nvSpPr>
          <p:cNvPr id="66" name="Google Shape;66;p15"/>
          <p:cNvSpPr txBox="1">
            <a:spLocks noGrp="1"/>
          </p:cNvSpPr>
          <p:nvPr>
            <p:ph type="subTitle" idx="1"/>
          </p:nvPr>
        </p:nvSpPr>
        <p:spPr>
          <a:xfrm>
            <a:off x="4387800" y="3724500"/>
            <a:ext cx="4043100" cy="411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r" rtl="0">
              <a:lnSpc>
                <a:spcPct val="100000"/>
              </a:lnSpc>
              <a:spcBef>
                <a:spcPts val="1600"/>
              </a:spcBef>
              <a:spcAft>
                <a:spcPts val="0"/>
              </a:spcAft>
              <a:buSzPts val="1400"/>
              <a:buNone/>
              <a:defRPr/>
            </a:lvl2pPr>
            <a:lvl3pPr lvl="2" algn="r" rtl="0">
              <a:lnSpc>
                <a:spcPct val="100000"/>
              </a:lnSpc>
              <a:spcBef>
                <a:spcPts val="1600"/>
              </a:spcBef>
              <a:spcAft>
                <a:spcPts val="0"/>
              </a:spcAft>
              <a:buSzPts val="1400"/>
              <a:buNone/>
              <a:defRPr/>
            </a:lvl3pPr>
            <a:lvl4pPr lvl="3" algn="r" rtl="0">
              <a:lnSpc>
                <a:spcPct val="100000"/>
              </a:lnSpc>
              <a:spcBef>
                <a:spcPts val="1600"/>
              </a:spcBef>
              <a:spcAft>
                <a:spcPts val="0"/>
              </a:spcAft>
              <a:buSzPts val="1400"/>
              <a:buNone/>
              <a:defRPr/>
            </a:lvl4pPr>
            <a:lvl5pPr lvl="4" algn="r" rtl="0">
              <a:lnSpc>
                <a:spcPct val="100000"/>
              </a:lnSpc>
              <a:spcBef>
                <a:spcPts val="1600"/>
              </a:spcBef>
              <a:spcAft>
                <a:spcPts val="0"/>
              </a:spcAft>
              <a:buSzPts val="1400"/>
              <a:buNone/>
              <a:defRPr/>
            </a:lvl5pPr>
            <a:lvl6pPr lvl="5" algn="r" rtl="0">
              <a:lnSpc>
                <a:spcPct val="100000"/>
              </a:lnSpc>
              <a:spcBef>
                <a:spcPts val="1600"/>
              </a:spcBef>
              <a:spcAft>
                <a:spcPts val="0"/>
              </a:spcAft>
              <a:buSzPts val="1400"/>
              <a:buNone/>
              <a:defRPr/>
            </a:lvl6pPr>
            <a:lvl7pPr lvl="6" algn="r" rtl="0">
              <a:lnSpc>
                <a:spcPct val="100000"/>
              </a:lnSpc>
              <a:spcBef>
                <a:spcPts val="1600"/>
              </a:spcBef>
              <a:spcAft>
                <a:spcPts val="0"/>
              </a:spcAft>
              <a:buSzPts val="1400"/>
              <a:buNone/>
              <a:defRPr/>
            </a:lvl7pPr>
            <a:lvl8pPr lvl="7" algn="r" rtl="0">
              <a:lnSpc>
                <a:spcPct val="100000"/>
              </a:lnSpc>
              <a:spcBef>
                <a:spcPts val="1600"/>
              </a:spcBef>
              <a:spcAft>
                <a:spcPts val="0"/>
              </a:spcAft>
              <a:buSzPts val="1400"/>
              <a:buNone/>
              <a:defRPr/>
            </a:lvl8pPr>
            <a:lvl9pPr lvl="8" algn="r" rtl="0">
              <a:lnSpc>
                <a:spcPct val="100000"/>
              </a:lnSpc>
              <a:spcBef>
                <a:spcPts val="1600"/>
              </a:spcBef>
              <a:spcAft>
                <a:spcPts val="1600"/>
              </a:spcAft>
              <a:buSzPts val="1400"/>
              <a:buNone/>
              <a:defRPr/>
            </a:lvl9pPr>
          </a:lstStyle>
          <a:p>
            <a:endParaRPr/>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header 2">
  <p:cSld name="CUSTOM_10_1">
    <p:bg>
      <p:bgPr>
        <a:gradFill>
          <a:gsLst>
            <a:gs pos="0">
              <a:schemeClr val="dk2"/>
            </a:gs>
            <a:gs pos="100000">
              <a:schemeClr val="lt2"/>
            </a:gs>
          </a:gsLst>
          <a:lin ang="2700006" scaled="0"/>
        </a:gradFill>
        <a:effectLst/>
      </p:bgPr>
    </p:bg>
    <p:spTree>
      <p:nvGrpSpPr>
        <p:cNvPr id="1" name="Shape 67"/>
        <p:cNvGrpSpPr/>
        <p:nvPr/>
      </p:nvGrpSpPr>
      <p:grpSpPr>
        <a:xfrm>
          <a:off x="0" y="0"/>
          <a:ext cx="0" cy="0"/>
          <a:chOff x="0" y="0"/>
          <a:chExt cx="0" cy="0"/>
        </a:xfrm>
      </p:grpSpPr>
      <p:sp>
        <p:nvSpPr>
          <p:cNvPr id="68" name="Google Shape;68;p16"/>
          <p:cNvSpPr txBox="1">
            <a:spLocks noGrp="1"/>
          </p:cNvSpPr>
          <p:nvPr>
            <p:ph type="title"/>
          </p:nvPr>
        </p:nvSpPr>
        <p:spPr>
          <a:xfrm>
            <a:off x="2351700" y="2393650"/>
            <a:ext cx="4440600" cy="1457400"/>
          </a:xfrm>
          <a:prstGeom prst="rect">
            <a:avLst/>
          </a:prstGeom>
        </p:spPr>
        <p:txBody>
          <a:bodyPr spcFirstLastPara="1" wrap="square" lIns="91425" tIns="91425" rIns="91425" bIns="91425" anchor="ctr" anchorCtr="0">
            <a:noAutofit/>
          </a:bodyPr>
          <a:lstStyle>
            <a:lvl1pPr lvl="0" algn="ctr" rtl="0">
              <a:lnSpc>
                <a:spcPct val="80000"/>
              </a:lnSpc>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69" name="Google Shape;69;p16"/>
          <p:cNvSpPr txBox="1">
            <a:spLocks noGrp="1"/>
          </p:cNvSpPr>
          <p:nvPr>
            <p:ph type="title" idx="2" hasCustomPrompt="1"/>
          </p:nvPr>
        </p:nvSpPr>
        <p:spPr>
          <a:xfrm>
            <a:off x="3945600" y="1027350"/>
            <a:ext cx="1252800" cy="12510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2"/>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70" name="Google Shape;70;p16"/>
          <p:cNvSpPr txBox="1">
            <a:spLocks noGrp="1"/>
          </p:cNvSpPr>
          <p:nvPr>
            <p:ph type="subTitle" idx="1"/>
          </p:nvPr>
        </p:nvSpPr>
        <p:spPr>
          <a:xfrm>
            <a:off x="2351700" y="3724500"/>
            <a:ext cx="4440600" cy="411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three columns">
  <p:cSld name="CUSTOM_6">
    <p:bg>
      <p:bgPr>
        <a:gradFill>
          <a:gsLst>
            <a:gs pos="0">
              <a:schemeClr val="dk2"/>
            </a:gs>
            <a:gs pos="100000">
              <a:schemeClr val="lt2"/>
            </a:gs>
          </a:gsLst>
          <a:lin ang="13500032" scaled="0"/>
        </a:gradFill>
        <a:effectLst/>
      </p:bgPr>
    </p:bg>
    <p:spTree>
      <p:nvGrpSpPr>
        <p:cNvPr id="1" name="Shape 87"/>
        <p:cNvGrpSpPr/>
        <p:nvPr/>
      </p:nvGrpSpPr>
      <p:grpSpPr>
        <a:xfrm>
          <a:off x="0" y="0"/>
          <a:ext cx="0" cy="0"/>
          <a:chOff x="0" y="0"/>
          <a:chExt cx="0" cy="0"/>
        </a:xfrm>
      </p:grpSpPr>
      <p:sp>
        <p:nvSpPr>
          <p:cNvPr id="88" name="Google Shape;88;p21"/>
          <p:cNvSpPr txBox="1">
            <a:spLocks noGrp="1"/>
          </p:cNvSpPr>
          <p:nvPr>
            <p:ph type="title"/>
          </p:nvPr>
        </p:nvSpPr>
        <p:spPr>
          <a:xfrm>
            <a:off x="720075" y="5394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89" name="Google Shape;89;p21"/>
          <p:cNvSpPr txBox="1">
            <a:spLocks noGrp="1"/>
          </p:cNvSpPr>
          <p:nvPr>
            <p:ph type="title" idx="2"/>
          </p:nvPr>
        </p:nvSpPr>
        <p:spPr>
          <a:xfrm>
            <a:off x="846850" y="2876550"/>
            <a:ext cx="2229600" cy="466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90" name="Google Shape;90;p21"/>
          <p:cNvSpPr txBox="1">
            <a:spLocks noGrp="1"/>
          </p:cNvSpPr>
          <p:nvPr>
            <p:ph type="subTitle" idx="1"/>
          </p:nvPr>
        </p:nvSpPr>
        <p:spPr>
          <a:xfrm>
            <a:off x="846850" y="3266575"/>
            <a:ext cx="2229600" cy="869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91" name="Google Shape;91;p21"/>
          <p:cNvSpPr txBox="1">
            <a:spLocks noGrp="1"/>
          </p:cNvSpPr>
          <p:nvPr>
            <p:ph type="title" idx="3"/>
          </p:nvPr>
        </p:nvSpPr>
        <p:spPr>
          <a:xfrm>
            <a:off x="3457233" y="2876550"/>
            <a:ext cx="2229600" cy="466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92" name="Google Shape;92;p21"/>
          <p:cNvSpPr txBox="1">
            <a:spLocks noGrp="1"/>
          </p:cNvSpPr>
          <p:nvPr>
            <p:ph type="subTitle" idx="4"/>
          </p:nvPr>
        </p:nvSpPr>
        <p:spPr>
          <a:xfrm>
            <a:off x="3457233" y="3266575"/>
            <a:ext cx="2229600" cy="869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93" name="Google Shape;93;p21"/>
          <p:cNvSpPr txBox="1">
            <a:spLocks noGrp="1"/>
          </p:cNvSpPr>
          <p:nvPr>
            <p:ph type="title" idx="5"/>
          </p:nvPr>
        </p:nvSpPr>
        <p:spPr>
          <a:xfrm>
            <a:off x="6067623" y="2876550"/>
            <a:ext cx="2229600" cy="466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94" name="Google Shape;94;p21"/>
          <p:cNvSpPr txBox="1">
            <a:spLocks noGrp="1"/>
          </p:cNvSpPr>
          <p:nvPr>
            <p:ph type="subTitle" idx="6"/>
          </p:nvPr>
        </p:nvSpPr>
        <p:spPr>
          <a:xfrm>
            <a:off x="6067623" y="3266575"/>
            <a:ext cx="2229600" cy="869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2">
  <p:cSld name="CUSTOM_12_1">
    <p:bg>
      <p:bgPr>
        <a:gradFill>
          <a:gsLst>
            <a:gs pos="0">
              <a:schemeClr val="dk2"/>
            </a:gs>
            <a:gs pos="100000">
              <a:schemeClr val="lt2"/>
            </a:gs>
          </a:gsLst>
          <a:lin ang="2700006" scaled="0"/>
        </a:gradFill>
        <a:effectLst/>
      </p:bgPr>
    </p:bg>
    <p:spTree>
      <p:nvGrpSpPr>
        <p:cNvPr id="1" name="Shape 160"/>
        <p:cNvGrpSpPr/>
        <p:nvPr/>
      </p:nvGrpSpPr>
      <p:grpSpPr>
        <a:xfrm>
          <a:off x="0" y="0"/>
          <a:ext cx="0" cy="0"/>
          <a:chOff x="0" y="0"/>
          <a:chExt cx="0" cy="0"/>
        </a:xfrm>
      </p:grpSpPr>
      <p:sp>
        <p:nvSpPr>
          <p:cNvPr id="161" name="Google Shape;161;p29"/>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lvl1pPr>
            <a:lvl2pPr lvl="1" algn="ctr" rtl="0">
              <a:spcBef>
                <a:spcPts val="0"/>
              </a:spcBef>
              <a:spcAft>
                <a:spcPts val="0"/>
              </a:spcAft>
              <a:buSzPts val="3200"/>
              <a:buNone/>
              <a:defRPr/>
            </a:lvl2pPr>
            <a:lvl3pPr lvl="2" algn="ctr" rtl="0">
              <a:spcBef>
                <a:spcPts val="0"/>
              </a:spcBef>
              <a:spcAft>
                <a:spcPts val="0"/>
              </a:spcAft>
              <a:buSzPts val="3200"/>
              <a:buNone/>
              <a:defRPr/>
            </a:lvl3pPr>
            <a:lvl4pPr lvl="3" algn="ctr" rtl="0">
              <a:spcBef>
                <a:spcPts val="0"/>
              </a:spcBef>
              <a:spcAft>
                <a:spcPts val="0"/>
              </a:spcAft>
              <a:buSzPts val="3200"/>
              <a:buNone/>
              <a:defRPr/>
            </a:lvl4pPr>
            <a:lvl5pPr lvl="4" algn="ctr" rtl="0">
              <a:spcBef>
                <a:spcPts val="0"/>
              </a:spcBef>
              <a:spcAft>
                <a:spcPts val="0"/>
              </a:spcAft>
              <a:buSzPts val="3200"/>
              <a:buNone/>
              <a:defRPr/>
            </a:lvl5pPr>
            <a:lvl6pPr lvl="5" algn="ctr" rtl="0">
              <a:spcBef>
                <a:spcPts val="0"/>
              </a:spcBef>
              <a:spcAft>
                <a:spcPts val="0"/>
              </a:spcAft>
              <a:buSzPts val="3200"/>
              <a:buNone/>
              <a:defRPr/>
            </a:lvl6pPr>
            <a:lvl7pPr lvl="6" algn="ctr" rtl="0">
              <a:spcBef>
                <a:spcPts val="0"/>
              </a:spcBef>
              <a:spcAft>
                <a:spcPts val="0"/>
              </a:spcAft>
              <a:buSzPts val="3200"/>
              <a:buNone/>
              <a:defRPr/>
            </a:lvl7pPr>
            <a:lvl8pPr lvl="7" algn="ctr" rtl="0">
              <a:spcBef>
                <a:spcPts val="0"/>
              </a:spcBef>
              <a:spcAft>
                <a:spcPts val="0"/>
              </a:spcAft>
              <a:buSzPts val="3200"/>
              <a:buNone/>
              <a:defRPr/>
            </a:lvl8pPr>
            <a:lvl9pPr lvl="8" algn="ctr" rtl="0">
              <a:spcBef>
                <a:spcPts val="0"/>
              </a:spcBef>
              <a:spcAft>
                <a:spcPts val="0"/>
              </a:spcAft>
              <a:buSzPts val="3200"/>
              <a:buNone/>
              <a:defRPr/>
            </a:lvl9pPr>
          </a:lstStyle>
          <a:p>
            <a:endParaRPr/>
          </a:p>
        </p:txBody>
      </p:sp>
    </p:spTree>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ackground">
  <p:cSld name="CUSTOM_9">
    <p:bg>
      <p:bgPr>
        <a:gradFill>
          <a:gsLst>
            <a:gs pos="0">
              <a:schemeClr val="dk2"/>
            </a:gs>
            <a:gs pos="100000">
              <a:schemeClr val="lt2"/>
            </a:gs>
          </a:gsLst>
          <a:lin ang="2700006" scaled="0"/>
        </a:gradFill>
        <a:effectLst/>
      </p:bgPr>
    </p:bg>
    <p:spTree>
      <p:nvGrpSpPr>
        <p:cNvPr id="1" name="Shape 166"/>
        <p:cNvGrpSpPr/>
        <p:nvPr/>
      </p:nvGrpSpPr>
      <p:grpSpPr>
        <a:xfrm>
          <a:off x="0" y="0"/>
          <a:ext cx="0" cy="0"/>
          <a:chOff x="0" y="0"/>
          <a:chExt cx="0" cy="0"/>
        </a:xfrm>
      </p:grpSpPr>
    </p:spTree>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ackground 1">
  <p:cSld name="CUSTOM_9_1">
    <p:bg>
      <p:bgPr>
        <a:gradFill>
          <a:gsLst>
            <a:gs pos="0">
              <a:schemeClr val="dk2"/>
            </a:gs>
            <a:gs pos="100000">
              <a:schemeClr val="lt2"/>
            </a:gs>
          </a:gsLst>
          <a:lin ang="8100019" scaled="0"/>
        </a:gradFill>
        <a:effectLst/>
      </p:bgPr>
    </p:bg>
    <p:spTree>
      <p:nvGrpSpPr>
        <p:cNvPr id="1" name="Shape 167"/>
        <p:cNvGrpSpPr/>
        <p:nvPr/>
      </p:nvGrpSpPr>
      <p:grpSpPr>
        <a:xfrm>
          <a:off x="0" y="0"/>
          <a:ext cx="0" cy="0"/>
          <a:chOff x="0" y="0"/>
          <a:chExt cx="0" cy="0"/>
        </a:xfrm>
      </p:grpSpPr>
    </p:spTree>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ackground 2">
  <p:cSld name="CUSTOM_9_2">
    <p:bg>
      <p:bgPr>
        <a:gradFill>
          <a:gsLst>
            <a:gs pos="0">
              <a:schemeClr val="dk2"/>
            </a:gs>
            <a:gs pos="100000">
              <a:schemeClr val="lt2"/>
            </a:gs>
          </a:gsLst>
          <a:lin ang="18900044" scaled="0"/>
        </a:gradFill>
        <a:effectLst/>
      </p:bgPr>
    </p:bg>
    <p:spTree>
      <p:nvGrpSpPr>
        <p:cNvPr id="1" name="Shape 168"/>
        <p:cNvGrpSpPr/>
        <p:nvPr/>
      </p:nvGrpSpPr>
      <p:grpSpPr>
        <a:xfrm>
          <a:off x="0" y="0"/>
          <a:ext cx="0" cy="0"/>
          <a:chOff x="0" y="0"/>
          <a:chExt cx="0" cy="0"/>
        </a:xfrm>
      </p:grpSpPr>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ackground 3">
  <p:cSld name="CUSTOM_9_3">
    <p:bg>
      <p:bgPr>
        <a:gradFill>
          <a:gsLst>
            <a:gs pos="0">
              <a:schemeClr val="dk2"/>
            </a:gs>
            <a:gs pos="100000">
              <a:schemeClr val="lt2"/>
            </a:gs>
          </a:gsLst>
          <a:lin ang="13500032" scaled="0"/>
        </a:gradFill>
        <a:effectLst/>
      </p:bgPr>
    </p:bg>
    <p:spTree>
      <p:nvGrpSpPr>
        <p:cNvPr id="1" name="Shape 169"/>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gradFill>
          <a:gsLst>
            <a:gs pos="0">
              <a:schemeClr val="dk2"/>
            </a:gs>
            <a:gs pos="100000">
              <a:schemeClr val="lt2"/>
            </a:gs>
          </a:gsLst>
          <a:lin ang="8100019" scaled="0"/>
        </a:gradFill>
        <a:effectLst/>
      </p:bgPr>
    </p:bg>
    <p:spTree>
      <p:nvGrpSpPr>
        <p:cNvPr id="1" name="Shape 11"/>
        <p:cNvGrpSpPr/>
        <p:nvPr/>
      </p:nvGrpSpPr>
      <p:grpSpPr>
        <a:xfrm>
          <a:off x="0" y="0"/>
          <a:ext cx="0" cy="0"/>
          <a:chOff x="0" y="0"/>
          <a:chExt cx="0" cy="0"/>
        </a:xfrm>
      </p:grpSpPr>
      <p:sp>
        <p:nvSpPr>
          <p:cNvPr id="12" name="Google Shape;12;p3"/>
          <p:cNvSpPr txBox="1">
            <a:spLocks noGrp="1"/>
          </p:cNvSpPr>
          <p:nvPr>
            <p:ph type="title"/>
          </p:nvPr>
        </p:nvSpPr>
        <p:spPr>
          <a:xfrm>
            <a:off x="635925" y="2393650"/>
            <a:ext cx="4705800" cy="1457400"/>
          </a:xfrm>
          <a:prstGeom prst="rect">
            <a:avLst/>
          </a:prstGeom>
        </p:spPr>
        <p:txBody>
          <a:bodyPr spcFirstLastPara="1" wrap="square" lIns="91425" tIns="91425" rIns="91425" bIns="91425" anchor="ctr" anchorCtr="0">
            <a:noAutofit/>
          </a:bodyPr>
          <a:lstStyle>
            <a:lvl1pPr lvl="0" algn="ctr">
              <a:lnSpc>
                <a:spcPct val="80000"/>
              </a:lnSpc>
              <a:spcBef>
                <a:spcPts val="0"/>
              </a:spcBef>
              <a:spcAft>
                <a:spcPts val="0"/>
              </a:spcAft>
              <a:buSzPts val="3600"/>
              <a:buNone/>
              <a:defRPr sz="50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3" name="Google Shape;13;p3"/>
          <p:cNvSpPr txBox="1">
            <a:spLocks noGrp="1"/>
          </p:cNvSpPr>
          <p:nvPr>
            <p:ph type="title" idx="2" hasCustomPrompt="1"/>
          </p:nvPr>
        </p:nvSpPr>
        <p:spPr>
          <a:xfrm>
            <a:off x="2362175" y="1067119"/>
            <a:ext cx="1252800" cy="12510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6000"/>
              <a:buNone/>
              <a:defRPr sz="6000">
                <a:solidFill>
                  <a:schemeClr val="dk2"/>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4" name="Google Shape;14;p3"/>
          <p:cNvSpPr txBox="1">
            <a:spLocks noGrp="1"/>
          </p:cNvSpPr>
          <p:nvPr>
            <p:ph type="subTitle" idx="1"/>
          </p:nvPr>
        </p:nvSpPr>
        <p:spPr>
          <a:xfrm>
            <a:off x="635925" y="3724500"/>
            <a:ext cx="4705800" cy="411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bg>
      <p:bgPr>
        <a:gradFill>
          <a:gsLst>
            <a:gs pos="0">
              <a:schemeClr val="dk2"/>
            </a:gs>
            <a:gs pos="100000">
              <a:schemeClr val="lt2"/>
            </a:gs>
          </a:gsLst>
          <a:lin ang="2700006" scaled="0"/>
        </a:gradFill>
        <a:effectLst/>
      </p:bgPr>
    </p:bg>
    <p:spTree>
      <p:nvGrpSpPr>
        <p:cNvPr id="1" name="Shape 15"/>
        <p:cNvGrpSpPr/>
        <p:nvPr/>
      </p:nvGrpSpPr>
      <p:grpSpPr>
        <a:xfrm>
          <a:off x="0" y="0"/>
          <a:ext cx="0" cy="0"/>
          <a:chOff x="0" y="0"/>
          <a:chExt cx="0" cy="0"/>
        </a:xfrm>
      </p:grpSpPr>
      <p:sp>
        <p:nvSpPr>
          <p:cNvPr id="16" name="Google Shape;16;p4"/>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17" name="Google Shape;17;p4"/>
          <p:cNvSpPr txBox="1">
            <a:spLocks noGrp="1"/>
          </p:cNvSpPr>
          <p:nvPr>
            <p:ph type="body" idx="1"/>
          </p:nvPr>
        </p:nvSpPr>
        <p:spPr>
          <a:xfrm>
            <a:off x="720000" y="1215752"/>
            <a:ext cx="7704000" cy="3416400"/>
          </a:xfrm>
          <a:prstGeom prst="rect">
            <a:avLst/>
          </a:prstGeom>
        </p:spPr>
        <p:txBody>
          <a:bodyPr spcFirstLastPara="1" wrap="square" lIns="91425" tIns="91425" rIns="91425" bIns="91425" anchor="t" anchorCtr="0">
            <a:noAutofit/>
          </a:bodyPr>
          <a:lstStyle>
            <a:lvl1pPr marL="457200" lvl="0" indent="-304800" rtl="0">
              <a:lnSpc>
                <a:spcPct val="100000"/>
              </a:lnSpc>
              <a:spcBef>
                <a:spcPts val="0"/>
              </a:spcBef>
              <a:spcAft>
                <a:spcPts val="0"/>
              </a:spcAft>
              <a:buSzPts val="1200"/>
              <a:buAutoNum type="arabicPeriod"/>
              <a:defRPr sz="1200"/>
            </a:lvl1pPr>
            <a:lvl2pPr marL="914400" lvl="1" indent="-304800" rtl="0">
              <a:lnSpc>
                <a:spcPct val="115000"/>
              </a:lnSpc>
              <a:spcBef>
                <a:spcPts val="1600"/>
              </a:spcBef>
              <a:spcAft>
                <a:spcPts val="0"/>
              </a:spcAft>
              <a:buSzPts val="1200"/>
              <a:buFont typeface="Roboto Condensed Light"/>
              <a:buAutoNum type="alphaLcPeriod"/>
              <a:defRPr/>
            </a:lvl2pPr>
            <a:lvl3pPr marL="1371600" lvl="2" indent="-304800" rtl="0">
              <a:lnSpc>
                <a:spcPct val="115000"/>
              </a:lnSpc>
              <a:spcBef>
                <a:spcPts val="1600"/>
              </a:spcBef>
              <a:spcAft>
                <a:spcPts val="0"/>
              </a:spcAft>
              <a:buSzPts val="1200"/>
              <a:buFont typeface="Roboto Condensed Light"/>
              <a:buAutoNum type="romanLcPeriod"/>
              <a:defRPr/>
            </a:lvl3pPr>
            <a:lvl4pPr marL="1828800" lvl="3" indent="-304800" rtl="0">
              <a:lnSpc>
                <a:spcPct val="115000"/>
              </a:lnSpc>
              <a:spcBef>
                <a:spcPts val="1600"/>
              </a:spcBef>
              <a:spcAft>
                <a:spcPts val="0"/>
              </a:spcAft>
              <a:buSzPts val="1200"/>
              <a:buFont typeface="Roboto Condensed Light"/>
              <a:buAutoNum type="arabicPeriod"/>
              <a:defRPr/>
            </a:lvl4pPr>
            <a:lvl5pPr marL="2286000" lvl="4" indent="-304800" rtl="0">
              <a:lnSpc>
                <a:spcPct val="115000"/>
              </a:lnSpc>
              <a:spcBef>
                <a:spcPts val="1600"/>
              </a:spcBef>
              <a:spcAft>
                <a:spcPts val="0"/>
              </a:spcAft>
              <a:buSzPts val="1200"/>
              <a:buFont typeface="Roboto Condensed Light"/>
              <a:buAutoNum type="alphaLcPeriod"/>
              <a:defRPr/>
            </a:lvl5pPr>
            <a:lvl6pPr marL="2743200" lvl="5" indent="-304800" rtl="0">
              <a:lnSpc>
                <a:spcPct val="115000"/>
              </a:lnSpc>
              <a:spcBef>
                <a:spcPts val="1600"/>
              </a:spcBef>
              <a:spcAft>
                <a:spcPts val="0"/>
              </a:spcAft>
              <a:buSzPts val="1200"/>
              <a:buFont typeface="Roboto Condensed Light"/>
              <a:buAutoNum type="romanLcPeriod"/>
              <a:defRPr/>
            </a:lvl6pPr>
            <a:lvl7pPr marL="3200400" lvl="6" indent="-304800" rtl="0">
              <a:lnSpc>
                <a:spcPct val="115000"/>
              </a:lnSpc>
              <a:spcBef>
                <a:spcPts val="1600"/>
              </a:spcBef>
              <a:spcAft>
                <a:spcPts val="0"/>
              </a:spcAft>
              <a:buSzPts val="1200"/>
              <a:buFont typeface="Roboto Condensed Light"/>
              <a:buAutoNum type="arabicPeriod"/>
              <a:defRPr/>
            </a:lvl7pPr>
            <a:lvl8pPr marL="3657600" lvl="7" indent="-304800" rtl="0">
              <a:lnSpc>
                <a:spcPct val="115000"/>
              </a:lnSpc>
              <a:spcBef>
                <a:spcPts val="1600"/>
              </a:spcBef>
              <a:spcAft>
                <a:spcPts val="0"/>
              </a:spcAft>
              <a:buSzPts val="1200"/>
              <a:buFont typeface="Roboto Condensed Light"/>
              <a:buAutoNum type="alphaLcPeriod"/>
              <a:defRPr/>
            </a:lvl8pPr>
            <a:lvl9pPr marL="4114800" lvl="8" indent="-304800" rtl="0">
              <a:lnSpc>
                <a:spcPct val="115000"/>
              </a:lnSpc>
              <a:spcBef>
                <a:spcPts val="1600"/>
              </a:spcBef>
              <a:spcAft>
                <a:spcPts val="1600"/>
              </a:spcAft>
              <a:buSzPts val="1200"/>
              <a:buFont typeface="Roboto Condensed Light"/>
              <a:buAutoNum type="romanLcPeriod"/>
              <a:defRPr/>
            </a:lvl9pPr>
          </a:lstStyle>
          <a:p>
            <a:endParaRPr/>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gradFill>
          <a:gsLst>
            <a:gs pos="0">
              <a:schemeClr val="dk2"/>
            </a:gs>
            <a:gs pos="100000">
              <a:schemeClr val="lt2"/>
            </a:gs>
          </a:gsLst>
          <a:lin ang="18900044" scaled="0"/>
        </a:gradFill>
        <a:effectLst/>
      </p:bgPr>
    </p:bg>
    <p:spTree>
      <p:nvGrpSpPr>
        <p:cNvPr id="1" name="Shape 18"/>
        <p:cNvGrpSpPr/>
        <p:nvPr/>
      </p:nvGrpSpPr>
      <p:grpSpPr>
        <a:xfrm>
          <a:off x="0" y="0"/>
          <a:ext cx="0" cy="0"/>
          <a:chOff x="0" y="0"/>
          <a:chExt cx="0" cy="0"/>
        </a:xfrm>
      </p:grpSpPr>
      <p:sp>
        <p:nvSpPr>
          <p:cNvPr id="19" name="Google Shape;19;p5"/>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0" name="Google Shape;20;p5"/>
          <p:cNvSpPr txBox="1">
            <a:spLocks noGrp="1"/>
          </p:cNvSpPr>
          <p:nvPr>
            <p:ph type="title" idx="2"/>
          </p:nvPr>
        </p:nvSpPr>
        <p:spPr>
          <a:xfrm>
            <a:off x="1467575" y="2876550"/>
            <a:ext cx="2638800" cy="466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sz="2000"/>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1" name="Google Shape;21;p5"/>
          <p:cNvSpPr txBox="1">
            <a:spLocks noGrp="1"/>
          </p:cNvSpPr>
          <p:nvPr>
            <p:ph type="title" idx="3"/>
          </p:nvPr>
        </p:nvSpPr>
        <p:spPr>
          <a:xfrm>
            <a:off x="5024700" y="2876550"/>
            <a:ext cx="2642700" cy="466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sz="2000"/>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22" name="Google Shape;22;p5"/>
          <p:cNvSpPr txBox="1">
            <a:spLocks noGrp="1"/>
          </p:cNvSpPr>
          <p:nvPr>
            <p:ph type="subTitle" idx="1"/>
          </p:nvPr>
        </p:nvSpPr>
        <p:spPr>
          <a:xfrm>
            <a:off x="5024700" y="3266573"/>
            <a:ext cx="2642700" cy="1010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1400" b="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23" name="Google Shape;23;p5"/>
          <p:cNvSpPr txBox="1">
            <a:spLocks noGrp="1"/>
          </p:cNvSpPr>
          <p:nvPr>
            <p:ph type="subTitle" idx="4"/>
          </p:nvPr>
        </p:nvSpPr>
        <p:spPr>
          <a:xfrm>
            <a:off x="1467575" y="3266573"/>
            <a:ext cx="2638800" cy="1010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1400" b="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bg>
      <p:bgPr>
        <a:gradFill>
          <a:gsLst>
            <a:gs pos="0">
              <a:schemeClr val="dk2"/>
            </a:gs>
            <a:gs pos="100000">
              <a:schemeClr val="lt2"/>
            </a:gs>
          </a:gsLst>
          <a:lin ang="8100019" scaled="0"/>
        </a:gradFill>
        <a:effectLst/>
      </p:bgPr>
    </p:bg>
    <p:spTree>
      <p:nvGrpSpPr>
        <p:cNvPr id="1" name="Shape 24"/>
        <p:cNvGrpSpPr/>
        <p:nvPr/>
      </p:nvGrpSpPr>
      <p:grpSpPr>
        <a:xfrm>
          <a:off x="0" y="0"/>
          <a:ext cx="0" cy="0"/>
          <a:chOff x="0" y="0"/>
          <a:chExt cx="0" cy="0"/>
        </a:xfrm>
      </p:grpSpPr>
      <p:sp>
        <p:nvSpPr>
          <p:cNvPr id="25" name="Google Shape;25;p6"/>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bg>
      <p:bgPr>
        <a:gradFill>
          <a:gsLst>
            <a:gs pos="0">
              <a:schemeClr val="dk2"/>
            </a:gs>
            <a:gs pos="100000">
              <a:schemeClr val="lt2"/>
            </a:gs>
          </a:gsLst>
          <a:lin ang="2700006" scaled="0"/>
        </a:gradFill>
        <a:effectLst/>
      </p:bgPr>
    </p:bg>
    <p:spTree>
      <p:nvGrpSpPr>
        <p:cNvPr id="1" name="Shape 26"/>
        <p:cNvGrpSpPr/>
        <p:nvPr/>
      </p:nvGrpSpPr>
      <p:grpSpPr>
        <a:xfrm>
          <a:off x="0" y="0"/>
          <a:ext cx="0" cy="0"/>
          <a:chOff x="0" y="0"/>
          <a:chExt cx="0" cy="0"/>
        </a:xfrm>
      </p:grpSpPr>
      <p:sp>
        <p:nvSpPr>
          <p:cNvPr id="27" name="Google Shape;27;p7"/>
          <p:cNvSpPr txBox="1">
            <a:spLocks noGrp="1"/>
          </p:cNvSpPr>
          <p:nvPr>
            <p:ph type="body" idx="1"/>
          </p:nvPr>
        </p:nvSpPr>
        <p:spPr>
          <a:xfrm>
            <a:off x="4648625" y="1978113"/>
            <a:ext cx="3782400" cy="2340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Char char="●"/>
              <a:defRPr/>
            </a:lvl1pPr>
            <a:lvl2pPr marL="914400" lvl="1" indent="-317500" rtl="0">
              <a:lnSpc>
                <a:spcPct val="115000"/>
              </a:lnSpc>
              <a:spcBef>
                <a:spcPts val="0"/>
              </a:spcBef>
              <a:spcAft>
                <a:spcPts val="0"/>
              </a:spcAft>
              <a:buSzPts val="1400"/>
              <a:buChar char="○"/>
              <a:defRPr/>
            </a:lvl2pPr>
            <a:lvl3pPr marL="1371600" lvl="2" indent="-317500" rtl="0">
              <a:lnSpc>
                <a:spcPct val="115000"/>
              </a:lnSpc>
              <a:spcBef>
                <a:spcPts val="1600"/>
              </a:spcBef>
              <a:spcAft>
                <a:spcPts val="0"/>
              </a:spcAft>
              <a:buSzPts val="1400"/>
              <a:buChar char="■"/>
              <a:defRPr/>
            </a:lvl3pPr>
            <a:lvl4pPr marL="1828800" lvl="3" indent="-317500" rtl="0">
              <a:lnSpc>
                <a:spcPct val="115000"/>
              </a:lnSpc>
              <a:spcBef>
                <a:spcPts val="1600"/>
              </a:spcBef>
              <a:spcAft>
                <a:spcPts val="0"/>
              </a:spcAft>
              <a:buSzPts val="1400"/>
              <a:buChar char="●"/>
              <a:defRPr/>
            </a:lvl4pPr>
            <a:lvl5pPr marL="2286000" lvl="4" indent="-317500" rtl="0">
              <a:lnSpc>
                <a:spcPct val="115000"/>
              </a:lnSpc>
              <a:spcBef>
                <a:spcPts val="1600"/>
              </a:spcBef>
              <a:spcAft>
                <a:spcPts val="0"/>
              </a:spcAft>
              <a:buSzPts val="1400"/>
              <a:buChar char="○"/>
              <a:defRPr/>
            </a:lvl5pPr>
            <a:lvl6pPr marL="2743200" lvl="5" indent="-317500" rtl="0">
              <a:lnSpc>
                <a:spcPct val="115000"/>
              </a:lnSpc>
              <a:spcBef>
                <a:spcPts val="1600"/>
              </a:spcBef>
              <a:spcAft>
                <a:spcPts val="0"/>
              </a:spcAft>
              <a:buSzPts val="1400"/>
              <a:buChar char="■"/>
              <a:defRPr/>
            </a:lvl6pPr>
            <a:lvl7pPr marL="3200400" lvl="6" indent="-317500" rtl="0">
              <a:lnSpc>
                <a:spcPct val="115000"/>
              </a:lnSpc>
              <a:spcBef>
                <a:spcPts val="1600"/>
              </a:spcBef>
              <a:spcAft>
                <a:spcPts val="0"/>
              </a:spcAft>
              <a:buSzPts val="1400"/>
              <a:buChar char="●"/>
              <a:defRPr/>
            </a:lvl7pPr>
            <a:lvl8pPr marL="3657600" lvl="7" indent="-317500" rtl="0">
              <a:lnSpc>
                <a:spcPct val="115000"/>
              </a:lnSpc>
              <a:spcBef>
                <a:spcPts val="1600"/>
              </a:spcBef>
              <a:spcAft>
                <a:spcPts val="0"/>
              </a:spcAft>
              <a:buSzPts val="1400"/>
              <a:buChar char="○"/>
              <a:defRPr/>
            </a:lvl8pPr>
            <a:lvl9pPr marL="4114800" lvl="8" indent="-317500" rtl="0">
              <a:lnSpc>
                <a:spcPct val="115000"/>
              </a:lnSpc>
              <a:spcBef>
                <a:spcPts val="1600"/>
              </a:spcBef>
              <a:spcAft>
                <a:spcPts val="1600"/>
              </a:spcAft>
              <a:buSzPts val="1400"/>
              <a:buChar char="■"/>
              <a:defRPr/>
            </a:lvl9pPr>
          </a:lstStyle>
          <a:p>
            <a:endParaRPr/>
          </a:p>
        </p:txBody>
      </p:sp>
      <p:sp>
        <p:nvSpPr>
          <p:cNvPr id="28" name="Google Shape;28;p7"/>
          <p:cNvSpPr txBox="1">
            <a:spLocks noGrp="1"/>
          </p:cNvSpPr>
          <p:nvPr>
            <p:ph type="title"/>
          </p:nvPr>
        </p:nvSpPr>
        <p:spPr>
          <a:xfrm>
            <a:off x="4648625" y="824488"/>
            <a:ext cx="3782400" cy="1209300"/>
          </a:xfrm>
          <a:prstGeom prst="rect">
            <a:avLst/>
          </a:prstGeom>
        </p:spPr>
        <p:txBody>
          <a:bodyPr spcFirstLastPara="1" wrap="square" lIns="91425" tIns="91425" rIns="91425" bIns="91425" anchor="ctr"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bg>
      <p:bgPr>
        <a:gradFill>
          <a:gsLst>
            <a:gs pos="0">
              <a:schemeClr val="dk2"/>
            </a:gs>
            <a:gs pos="100000">
              <a:schemeClr val="lt2"/>
            </a:gs>
          </a:gsLst>
          <a:lin ang="18900044" scaled="0"/>
        </a:gradFill>
        <a:effectLst/>
      </p:bgPr>
    </p:bg>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1921650" y="3086500"/>
            <a:ext cx="5300700" cy="694500"/>
          </a:xfrm>
          <a:prstGeom prst="rect">
            <a:avLst/>
          </a:prstGeom>
        </p:spPr>
        <p:txBody>
          <a:bodyPr spcFirstLastPara="1" wrap="square" lIns="91425" tIns="91425" rIns="91425" bIns="91425" anchor="ctr" anchorCtr="0">
            <a:noAutofit/>
          </a:bodyPr>
          <a:lstStyle>
            <a:lvl1pPr lvl="0" algn="ctr" rtl="0">
              <a:lnSpc>
                <a:spcPct val="80000"/>
              </a:lnSpc>
              <a:spcBef>
                <a:spcPts val="0"/>
              </a:spcBef>
              <a:spcAft>
                <a:spcPts val="0"/>
              </a:spcAft>
              <a:buSzPts val="3600"/>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33" name="Google Shape;33;p9"/>
          <p:cNvSpPr txBox="1">
            <a:spLocks noGrp="1"/>
          </p:cNvSpPr>
          <p:nvPr>
            <p:ph type="subTitle" idx="1"/>
          </p:nvPr>
        </p:nvSpPr>
        <p:spPr>
          <a:xfrm>
            <a:off x="1921650" y="3693600"/>
            <a:ext cx="5300700" cy="9105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9"/>
        <p:cNvGrpSpPr/>
        <p:nvPr/>
      </p:nvGrpSpPr>
      <p:grpSpPr>
        <a:xfrm>
          <a:off x="0" y="0"/>
          <a:ext cx="0" cy="0"/>
          <a:chOff x="0" y="0"/>
          <a:chExt cx="0" cy="0"/>
        </a:xfrm>
      </p:grpSpPr>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able of contents">
  <p:cSld name="BLANK_1_1_1_1_1_1">
    <p:bg>
      <p:bgPr>
        <a:gradFill>
          <a:gsLst>
            <a:gs pos="0">
              <a:schemeClr val="dk2"/>
            </a:gs>
            <a:gs pos="100000">
              <a:schemeClr val="lt2"/>
            </a:gs>
          </a:gsLst>
          <a:lin ang="13500032" scaled="0"/>
        </a:gradFill>
        <a:effectLst/>
      </p:bgPr>
    </p:bg>
    <p:spTree>
      <p:nvGrpSpPr>
        <p:cNvPr id="1" name="Shape 40"/>
        <p:cNvGrpSpPr/>
        <p:nvPr/>
      </p:nvGrpSpPr>
      <p:grpSpPr>
        <a:xfrm>
          <a:off x="0" y="0"/>
          <a:ext cx="0" cy="0"/>
          <a:chOff x="0" y="0"/>
          <a:chExt cx="0" cy="0"/>
        </a:xfrm>
      </p:grpSpPr>
      <p:sp>
        <p:nvSpPr>
          <p:cNvPr id="41" name="Google Shape;41;p13"/>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42" name="Google Shape;42;p13"/>
          <p:cNvSpPr txBox="1">
            <a:spLocks noGrp="1"/>
          </p:cNvSpPr>
          <p:nvPr>
            <p:ph type="title" idx="2"/>
          </p:nvPr>
        </p:nvSpPr>
        <p:spPr>
          <a:xfrm>
            <a:off x="713100" y="1233578"/>
            <a:ext cx="24597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43" name="Google Shape;43;p13"/>
          <p:cNvSpPr txBox="1">
            <a:spLocks noGrp="1"/>
          </p:cNvSpPr>
          <p:nvPr>
            <p:ph type="subTitle" idx="1"/>
          </p:nvPr>
        </p:nvSpPr>
        <p:spPr>
          <a:xfrm>
            <a:off x="713100" y="1667701"/>
            <a:ext cx="2459700" cy="484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44" name="Google Shape;44;p13"/>
          <p:cNvSpPr txBox="1">
            <a:spLocks noGrp="1"/>
          </p:cNvSpPr>
          <p:nvPr>
            <p:ph type="title" idx="3"/>
          </p:nvPr>
        </p:nvSpPr>
        <p:spPr>
          <a:xfrm>
            <a:off x="4981500" y="1233578"/>
            <a:ext cx="24597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45" name="Google Shape;45;p13"/>
          <p:cNvSpPr txBox="1">
            <a:spLocks noGrp="1"/>
          </p:cNvSpPr>
          <p:nvPr>
            <p:ph type="subTitle" idx="4"/>
          </p:nvPr>
        </p:nvSpPr>
        <p:spPr>
          <a:xfrm>
            <a:off x="4981500" y="1667701"/>
            <a:ext cx="2459700" cy="484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46" name="Google Shape;46;p13"/>
          <p:cNvSpPr txBox="1">
            <a:spLocks noGrp="1"/>
          </p:cNvSpPr>
          <p:nvPr>
            <p:ph type="title" idx="5"/>
          </p:nvPr>
        </p:nvSpPr>
        <p:spPr>
          <a:xfrm>
            <a:off x="713100" y="2405179"/>
            <a:ext cx="24597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47" name="Google Shape;47;p13"/>
          <p:cNvSpPr txBox="1">
            <a:spLocks noGrp="1"/>
          </p:cNvSpPr>
          <p:nvPr>
            <p:ph type="subTitle" idx="6"/>
          </p:nvPr>
        </p:nvSpPr>
        <p:spPr>
          <a:xfrm>
            <a:off x="713100" y="2839308"/>
            <a:ext cx="2459700" cy="484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48" name="Google Shape;48;p13"/>
          <p:cNvSpPr txBox="1">
            <a:spLocks noGrp="1"/>
          </p:cNvSpPr>
          <p:nvPr>
            <p:ph type="title" idx="7"/>
          </p:nvPr>
        </p:nvSpPr>
        <p:spPr>
          <a:xfrm>
            <a:off x="4981500" y="2405179"/>
            <a:ext cx="24597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49" name="Google Shape;49;p13"/>
          <p:cNvSpPr txBox="1">
            <a:spLocks noGrp="1"/>
          </p:cNvSpPr>
          <p:nvPr>
            <p:ph type="subTitle" idx="8"/>
          </p:nvPr>
        </p:nvSpPr>
        <p:spPr>
          <a:xfrm>
            <a:off x="4981500" y="2839302"/>
            <a:ext cx="2459700" cy="484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50" name="Google Shape;50;p13"/>
          <p:cNvSpPr txBox="1">
            <a:spLocks noGrp="1"/>
          </p:cNvSpPr>
          <p:nvPr>
            <p:ph type="title" idx="9" hasCustomPrompt="1"/>
          </p:nvPr>
        </p:nvSpPr>
        <p:spPr>
          <a:xfrm>
            <a:off x="3224500" y="1370531"/>
            <a:ext cx="803100" cy="8052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3600">
                <a:solidFill>
                  <a:schemeClr val="dk2"/>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t>xx%</a:t>
            </a:r>
          </a:p>
        </p:txBody>
      </p:sp>
      <p:sp>
        <p:nvSpPr>
          <p:cNvPr id="51" name="Google Shape;51;p13"/>
          <p:cNvSpPr txBox="1">
            <a:spLocks noGrp="1"/>
          </p:cNvSpPr>
          <p:nvPr>
            <p:ph type="title" idx="13" hasCustomPrompt="1"/>
          </p:nvPr>
        </p:nvSpPr>
        <p:spPr>
          <a:xfrm>
            <a:off x="3224500" y="2542106"/>
            <a:ext cx="803100" cy="8052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3600">
                <a:solidFill>
                  <a:schemeClr val="dk2"/>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t>xx%</a:t>
            </a:r>
          </a:p>
        </p:txBody>
      </p:sp>
      <p:sp>
        <p:nvSpPr>
          <p:cNvPr id="52" name="Google Shape;52;p13"/>
          <p:cNvSpPr txBox="1">
            <a:spLocks noGrp="1"/>
          </p:cNvSpPr>
          <p:nvPr>
            <p:ph type="title" idx="14" hasCustomPrompt="1"/>
          </p:nvPr>
        </p:nvSpPr>
        <p:spPr>
          <a:xfrm>
            <a:off x="7492950" y="1370553"/>
            <a:ext cx="803100" cy="8052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3600">
                <a:solidFill>
                  <a:schemeClr val="dk2"/>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t>xx%</a:t>
            </a:r>
          </a:p>
        </p:txBody>
      </p:sp>
      <p:sp>
        <p:nvSpPr>
          <p:cNvPr id="53" name="Google Shape;53;p13"/>
          <p:cNvSpPr txBox="1">
            <a:spLocks noGrp="1"/>
          </p:cNvSpPr>
          <p:nvPr>
            <p:ph type="title" idx="15" hasCustomPrompt="1"/>
          </p:nvPr>
        </p:nvSpPr>
        <p:spPr>
          <a:xfrm>
            <a:off x="7492950" y="2542106"/>
            <a:ext cx="803100" cy="8052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3600">
                <a:solidFill>
                  <a:schemeClr val="dk2"/>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t>xx%</a:t>
            </a:r>
          </a:p>
        </p:txBody>
      </p:sp>
      <p:sp>
        <p:nvSpPr>
          <p:cNvPr id="54" name="Google Shape;54;p13"/>
          <p:cNvSpPr txBox="1">
            <a:spLocks noGrp="1"/>
          </p:cNvSpPr>
          <p:nvPr>
            <p:ph type="title" idx="16"/>
          </p:nvPr>
        </p:nvSpPr>
        <p:spPr>
          <a:xfrm>
            <a:off x="713100" y="3576780"/>
            <a:ext cx="24597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55" name="Google Shape;55;p13"/>
          <p:cNvSpPr txBox="1">
            <a:spLocks noGrp="1"/>
          </p:cNvSpPr>
          <p:nvPr>
            <p:ph type="subTitle" idx="17"/>
          </p:nvPr>
        </p:nvSpPr>
        <p:spPr>
          <a:xfrm>
            <a:off x="713100" y="4010903"/>
            <a:ext cx="2459700" cy="484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56" name="Google Shape;56;p13"/>
          <p:cNvSpPr txBox="1">
            <a:spLocks noGrp="1"/>
          </p:cNvSpPr>
          <p:nvPr>
            <p:ph type="title" idx="18"/>
          </p:nvPr>
        </p:nvSpPr>
        <p:spPr>
          <a:xfrm>
            <a:off x="4981500" y="3576780"/>
            <a:ext cx="24597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500"/>
              <a:buNone/>
              <a:defRPr sz="20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57" name="Google Shape;57;p13"/>
          <p:cNvSpPr txBox="1">
            <a:spLocks noGrp="1"/>
          </p:cNvSpPr>
          <p:nvPr>
            <p:ph type="subTitle" idx="19"/>
          </p:nvPr>
        </p:nvSpPr>
        <p:spPr>
          <a:xfrm>
            <a:off x="4981500" y="4010903"/>
            <a:ext cx="2459700" cy="484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58" name="Google Shape;58;p13"/>
          <p:cNvSpPr txBox="1">
            <a:spLocks noGrp="1"/>
          </p:cNvSpPr>
          <p:nvPr>
            <p:ph type="title" idx="20" hasCustomPrompt="1"/>
          </p:nvPr>
        </p:nvSpPr>
        <p:spPr>
          <a:xfrm>
            <a:off x="3224500" y="3713705"/>
            <a:ext cx="803100" cy="8052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3600">
                <a:solidFill>
                  <a:schemeClr val="dk2"/>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t>xx%</a:t>
            </a:r>
          </a:p>
        </p:txBody>
      </p:sp>
      <p:sp>
        <p:nvSpPr>
          <p:cNvPr id="59" name="Google Shape;59;p13"/>
          <p:cNvSpPr txBox="1">
            <a:spLocks noGrp="1"/>
          </p:cNvSpPr>
          <p:nvPr>
            <p:ph type="title" idx="21" hasCustomPrompt="1"/>
          </p:nvPr>
        </p:nvSpPr>
        <p:spPr>
          <a:xfrm>
            <a:off x="7492950" y="3713706"/>
            <a:ext cx="803100" cy="8052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3600">
                <a:solidFill>
                  <a:schemeClr val="dk2"/>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r>
              <a:t>xx%</a:t>
            </a:r>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771D56-7E00-679E-4EBA-6E653294D2F8}"/>
              </a:ext>
            </a:extLst>
          </p:cNvPr>
          <p:cNvGraphicFramePr>
            <a:graphicFrameLocks noChangeAspect="1"/>
          </p:cNvGraphicFramePr>
          <p:nvPr userDrawn="1">
            <p:custDataLst>
              <p:tags r:id="rId19"/>
            </p:custDataLst>
            <p:extLst>
              <p:ext uri="{D42A27DB-BD31-4B8C-83A1-F6EECF244321}">
                <p14:modId xmlns:p14="http://schemas.microsoft.com/office/powerpoint/2010/main" val="19068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0" imgW="425" imgH="424" progId="TCLayout.ActiveDocument.1">
                  <p:embed/>
                </p:oleObj>
              </mc:Choice>
              <mc:Fallback>
                <p:oleObj name="think-cell 幻灯片" r:id="rId20" imgW="425" imgH="424" progId="TCLayout.ActiveDocument.1">
                  <p:embed/>
                  <p:pic>
                    <p:nvPicPr>
                      <p:cNvPr id="2" name="think-cell data - do not delete" hidden="1">
                        <a:extLst>
                          <a:ext uri="{FF2B5EF4-FFF2-40B4-BE49-F238E27FC236}">
                            <a16:creationId xmlns:a16="http://schemas.microsoft.com/office/drawing/2014/main" id="{D7771D56-7E00-679E-4EBA-6E653294D2F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13100" y="539400"/>
            <a:ext cx="7717800" cy="5727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1pPr>
            <a:lvl2pPr lvl="1"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2pPr>
            <a:lvl3pPr lvl="2"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3pPr>
            <a:lvl4pPr lvl="3"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4pPr>
            <a:lvl5pPr lvl="4"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5pPr>
            <a:lvl6pPr lvl="5"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6pPr>
            <a:lvl7pPr lvl="6"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7pPr>
            <a:lvl8pPr lvl="7"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8pPr>
            <a:lvl9pPr lvl="8" rtl="0">
              <a:spcBef>
                <a:spcPts val="0"/>
              </a:spcBef>
              <a:spcAft>
                <a:spcPts val="0"/>
              </a:spcAft>
              <a:buClr>
                <a:schemeClr val="lt1"/>
              </a:buClr>
              <a:buSzPts val="3200"/>
              <a:buFont typeface="DM Sans"/>
              <a:buNone/>
              <a:defRPr sz="3200" b="1">
                <a:solidFill>
                  <a:schemeClr val="lt1"/>
                </a:solidFill>
                <a:latin typeface="DM Sans"/>
                <a:ea typeface="DM Sans"/>
                <a:cs typeface="DM Sans"/>
                <a:sym typeface="DM Sans"/>
              </a:defRPr>
            </a:lvl9pPr>
          </a:lstStyle>
          <a:p>
            <a:endParaRPr/>
          </a:p>
        </p:txBody>
      </p:sp>
      <p:sp>
        <p:nvSpPr>
          <p:cNvPr id="7" name="Google Shape;7;p1"/>
          <p:cNvSpPr txBox="1">
            <a:spLocks noGrp="1"/>
          </p:cNvSpPr>
          <p:nvPr>
            <p:ph type="body" idx="1"/>
          </p:nvPr>
        </p:nvSpPr>
        <p:spPr>
          <a:xfrm>
            <a:off x="713100" y="1152475"/>
            <a:ext cx="7717800" cy="3416400"/>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lt1"/>
              </a:buClr>
              <a:buSzPts val="1400"/>
              <a:buFont typeface="Manrope"/>
              <a:buChar char="●"/>
              <a:defRPr>
                <a:solidFill>
                  <a:schemeClr val="lt1"/>
                </a:solidFill>
                <a:latin typeface="Manrope"/>
                <a:ea typeface="Manrope"/>
                <a:cs typeface="Manrope"/>
                <a:sym typeface="Manrope"/>
              </a:defRPr>
            </a:lvl1pPr>
            <a:lvl2pPr marL="914400" lvl="1"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2pPr>
            <a:lvl3pPr marL="1371600" lvl="2"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3pPr>
            <a:lvl4pPr marL="1828800" lvl="3"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4pPr>
            <a:lvl5pPr marL="2286000" lvl="4"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5pPr>
            <a:lvl6pPr marL="2743200" lvl="5"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6pPr>
            <a:lvl7pPr marL="3200400" lvl="6"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7pPr>
            <a:lvl8pPr marL="3657600" lvl="7" indent="-317500">
              <a:lnSpc>
                <a:spcPct val="115000"/>
              </a:lnSpc>
              <a:spcBef>
                <a:spcPts val="1600"/>
              </a:spcBef>
              <a:spcAft>
                <a:spcPts val="0"/>
              </a:spcAft>
              <a:buClr>
                <a:schemeClr val="lt1"/>
              </a:buClr>
              <a:buSzPts val="1400"/>
              <a:buFont typeface="Manrope"/>
              <a:buChar char="○"/>
              <a:defRPr>
                <a:solidFill>
                  <a:schemeClr val="lt1"/>
                </a:solidFill>
                <a:latin typeface="Manrope"/>
                <a:ea typeface="Manrope"/>
                <a:cs typeface="Manrope"/>
                <a:sym typeface="Manrope"/>
              </a:defRPr>
            </a:lvl8pPr>
            <a:lvl9pPr marL="4114800" lvl="8" indent="-317500">
              <a:lnSpc>
                <a:spcPct val="115000"/>
              </a:lnSpc>
              <a:spcBef>
                <a:spcPts val="1600"/>
              </a:spcBef>
              <a:spcAft>
                <a:spcPts val="1600"/>
              </a:spcAft>
              <a:buClr>
                <a:schemeClr val="lt1"/>
              </a:buClr>
              <a:buSzPts val="1400"/>
              <a:buFont typeface="Manrope"/>
              <a:buChar char="■"/>
              <a:defRPr>
                <a:solidFill>
                  <a:schemeClr val="lt1"/>
                </a:solidFill>
                <a:latin typeface="Manrope"/>
                <a:ea typeface="Manrope"/>
                <a:cs typeface="Manrope"/>
                <a:sym typeface="Manrope"/>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5" r:id="rId7"/>
    <p:sldLayoutId id="2147483658" r:id="rId8"/>
    <p:sldLayoutId id="2147483659" r:id="rId9"/>
    <p:sldLayoutId id="2147483661" r:id="rId10"/>
    <p:sldLayoutId id="2147483662" r:id="rId11"/>
    <p:sldLayoutId id="2147483667" r:id="rId12"/>
    <p:sldLayoutId id="2147483675" r:id="rId13"/>
    <p:sldLayoutId id="2147483677" r:id="rId14"/>
    <p:sldLayoutId id="2147483678" r:id="rId15"/>
    <p:sldLayoutId id="2147483679" r:id="rId16"/>
    <p:sldLayoutId id="2147483680" r:id="rId1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13.xml"/><Relationship Id="rId16" Type="http://schemas.openxmlformats.org/officeDocument/2006/relationships/image" Target="../media/image21.png"/><Relationship Id="rId1" Type="http://schemas.openxmlformats.org/officeDocument/2006/relationships/tags" Target="../tags/tag1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emf"/><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oleObject" Target="../embeddings/oleObject11.bin"/><Relationship Id="rId9" Type="http://schemas.openxmlformats.org/officeDocument/2006/relationships/image" Target="../media/image14.pn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oleObject" Target="../embeddings/oleObject12.bin"/><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1.emf"/><Relationship Id="rId9" Type="http://schemas.openxmlformats.org/officeDocument/2006/relationships/image" Target="../media/image26.sv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2.png"/><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41.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42.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6.emf"/></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2.xml"/><Relationship Id="rId7"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3.jpeg"/><Relationship Id="rId11" Type="http://schemas.openxmlformats.org/officeDocument/2006/relationships/hyperlink" Target="mailto:jiayideng@uchicago.edu" TargetMode="External"/><Relationship Id="rId5" Type="http://schemas.openxmlformats.org/officeDocument/2006/relationships/image" Target="../media/image1.emf"/><Relationship Id="rId10" Type="http://schemas.openxmlformats.org/officeDocument/2006/relationships/hyperlink" Target="mailto:jiaqi722@uchicago.edu" TargetMode="External"/><Relationship Id="rId4" Type="http://schemas.openxmlformats.org/officeDocument/2006/relationships/oleObject" Target="../embeddings/oleObject3.bin"/><Relationship Id="rId9"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6.png"/><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hyperlink" Target="https://www.kaggle.com/datasets/olistbr/brazilian-ecommerce/data" TargetMode="External"/><Relationship Id="rId3" Type="http://schemas.openxmlformats.org/officeDocument/2006/relationships/notesSlide" Target="../notesSlides/notesSlide24.xml"/><Relationship Id="rId7" Type="http://schemas.openxmlformats.org/officeDocument/2006/relationships/hyperlink" Target="https://olist.com/" TargetMode="External"/><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hyperlink" Target="https://www.ibge.gov.br/en/cities-and-states/sp.html" TargetMode="External"/><Relationship Id="rId5" Type="http://schemas.openxmlformats.org/officeDocument/2006/relationships/image" Target="../media/image1.emf"/><Relationship Id="rId10" Type="http://schemas.openxmlformats.org/officeDocument/2006/relationships/hyperlink" Target="https://www.statista.com/statistics/1028116/latin-america-unicorn-companies-market-value/" TargetMode="External"/><Relationship Id="rId4" Type="http://schemas.openxmlformats.org/officeDocument/2006/relationships/oleObject" Target="../embeddings/oleObject21.bin"/><Relationship Id="rId9" Type="http://schemas.openxmlformats.org/officeDocument/2006/relationships/hyperlink" Target="https://www.statista.com/statistics/1282103/highest-valued-e-commerce-startup-companies-brazil/"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 Id="rId9" Type="http://schemas.openxmlformats.org/officeDocument/2006/relationships/image" Target="../media/image64.svg"/></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FCCF7F4-6036-4F34-ADF5-8340CFF8212D}"/>
              </a:ext>
            </a:extLst>
          </p:cNvPr>
          <p:cNvGraphicFramePr>
            <a:graphicFrameLocks noChangeAspect="1"/>
          </p:cNvGraphicFramePr>
          <p:nvPr>
            <p:custDataLst>
              <p:tags r:id="rId1"/>
            </p:custDataLst>
            <p:extLst>
              <p:ext uri="{D42A27DB-BD31-4B8C-83A1-F6EECF244321}">
                <p14:modId xmlns:p14="http://schemas.microsoft.com/office/powerpoint/2010/main" val="259545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5FCCF7F4-6036-4F34-ADF5-8340CFF82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0" name="Google Shape;180;p38"/>
          <p:cNvSpPr txBox="1">
            <a:spLocks noGrp="1"/>
          </p:cNvSpPr>
          <p:nvPr>
            <p:ph type="subTitle" idx="1"/>
          </p:nvPr>
        </p:nvSpPr>
        <p:spPr>
          <a:xfrm>
            <a:off x="631292" y="3650999"/>
            <a:ext cx="3879000" cy="941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1400">
                <a:latin typeface="Calibri" panose="020F0502020204030204" pitchFamily="34" charset="0"/>
                <a:cs typeface="Calibri" panose="020F0502020204030204" pitchFamily="34" charset="0"/>
              </a:rPr>
              <a:t>Dec 8, 2023</a:t>
            </a:r>
          </a:p>
          <a:p>
            <a:pPr marL="0" lvl="0" indent="0" algn="l" rtl="0">
              <a:spcBef>
                <a:spcPts val="0"/>
              </a:spcBef>
              <a:spcAft>
                <a:spcPts val="0"/>
              </a:spcAft>
              <a:buNone/>
            </a:pPr>
            <a:r>
              <a:rPr lang="en" sz="1400">
                <a:latin typeface="Calibri" panose="020F0502020204030204" pitchFamily="34" charset="0"/>
                <a:cs typeface="Calibri" panose="020F0502020204030204" pitchFamily="34" charset="0"/>
              </a:rPr>
              <a:t>Presenters: Jessy Hu, Serena Shi,                        </a:t>
            </a:r>
          </a:p>
          <a:p>
            <a:pPr marL="0" lvl="0" indent="0" algn="l" rtl="0">
              <a:spcBef>
                <a:spcPts val="0"/>
              </a:spcBef>
              <a:spcAft>
                <a:spcPts val="0"/>
              </a:spcAft>
              <a:buNone/>
            </a:pPr>
            <a:r>
              <a:rPr lang="en" sz="1400">
                <a:latin typeface="Calibri" panose="020F0502020204030204" pitchFamily="34" charset="0"/>
                <a:cs typeface="Calibri" panose="020F0502020204030204" pitchFamily="34" charset="0"/>
              </a:rPr>
              <a:t>                      Yiwen Song, Jiayi Deng</a:t>
            </a:r>
          </a:p>
        </p:txBody>
      </p:sp>
      <p:pic>
        <p:nvPicPr>
          <p:cNvPr id="181" name="Google Shape;181;p38"/>
          <p:cNvPicPr preferRelativeResize="0"/>
          <p:nvPr/>
        </p:nvPicPr>
        <p:blipFill rotWithShape="1">
          <a:blip r:embed="rId6">
            <a:alphaModFix/>
          </a:blip>
          <a:srcRect l="11698" t="6289" r="8556" b="6472"/>
          <a:stretch/>
        </p:blipFill>
        <p:spPr>
          <a:xfrm>
            <a:off x="4572000" y="890525"/>
            <a:ext cx="4140699" cy="2760474"/>
          </a:xfrm>
          <a:prstGeom prst="rect">
            <a:avLst/>
          </a:prstGeom>
          <a:noFill/>
          <a:ln>
            <a:noFill/>
          </a:ln>
        </p:spPr>
      </p:pic>
      <p:sp>
        <p:nvSpPr>
          <p:cNvPr id="182" name="Google Shape;182;p38"/>
          <p:cNvSpPr txBox="1">
            <a:spLocks noGrp="1"/>
          </p:cNvSpPr>
          <p:nvPr>
            <p:ph type="ctrTitle"/>
          </p:nvPr>
        </p:nvSpPr>
        <p:spPr>
          <a:xfrm>
            <a:off x="547380" y="1219722"/>
            <a:ext cx="5046176" cy="2067900"/>
          </a:xfrm>
          <a:prstGeom prst="rect">
            <a:avLst/>
          </a:prstGeom>
        </p:spPr>
        <p:txBody>
          <a:bodyPr spcFirstLastPara="1" wrap="square" lIns="91425" tIns="91425" rIns="91425" bIns="91425" anchor="ctr" anchorCtr="0">
            <a:noAutofit/>
          </a:bodyPr>
          <a:lstStyle/>
          <a:p>
            <a:pPr marL="0" lvl="0" indent="0" algn="l" rtl="0">
              <a:lnSpc>
                <a:spcPct val="100000"/>
              </a:lnSpc>
              <a:spcBef>
                <a:spcPts val="0"/>
              </a:spcBef>
              <a:spcAft>
                <a:spcPts val="0"/>
              </a:spcAft>
              <a:buNone/>
            </a:pPr>
            <a:r>
              <a:rPr lang="en-US" sz="3200">
                <a:solidFill>
                  <a:schemeClr val="lt1"/>
                </a:solidFill>
              </a:rPr>
              <a:t>Enhancing E-Commerce Recommendation</a:t>
            </a:r>
            <a:endParaRPr sz="3200">
              <a:solidFill>
                <a:schemeClr val="lt1"/>
              </a:solidFill>
            </a:endParaRPr>
          </a:p>
          <a:p>
            <a:pPr marL="0" lvl="0" indent="0" algn="l" rtl="0">
              <a:lnSpc>
                <a:spcPct val="150000"/>
              </a:lnSpc>
              <a:spcBef>
                <a:spcPts val="0"/>
              </a:spcBef>
              <a:spcAft>
                <a:spcPts val="0"/>
              </a:spcAft>
              <a:buNone/>
            </a:pPr>
            <a:r>
              <a:rPr lang="en-US" altLang="zh-CN" sz="1800">
                <a:solidFill>
                  <a:schemeClr val="dk2"/>
                </a:solidFill>
                <a:highlight>
                  <a:schemeClr val="lt1"/>
                </a:highlight>
              </a:rPr>
              <a:t>A Tailored Shopping Experience</a:t>
            </a:r>
            <a:endParaRPr sz="1800">
              <a:solidFill>
                <a:schemeClr val="dk2"/>
              </a:solidFill>
              <a:highlight>
                <a:schemeClr val="lt1"/>
              </a:highligh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A07465-33B4-82B1-DF16-43665FBE13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91A07465-33B4-82B1-DF16-43665FBE13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8" name="Google Shape;908;p68"/>
          <p:cNvSpPr txBox="1"/>
          <p:nvPr/>
        </p:nvSpPr>
        <p:spPr>
          <a:xfrm>
            <a:off x="177998" y="1764780"/>
            <a:ext cx="1569600" cy="466200"/>
          </a:xfrm>
          <a:prstGeom prst="rect">
            <a:avLst/>
          </a:prstGeom>
          <a:noFill/>
          <a:ln>
            <a:noFill/>
          </a:ln>
        </p:spPr>
        <p:txBody>
          <a:bodyPr spcFirstLastPara="1" wrap="square" lIns="91425" tIns="91425" rIns="91425" bIns="91425" numCol="1" anchor="ctr" anchorCtr="0">
            <a:noAutofit/>
          </a:bodyPr>
          <a:lstStyle/>
          <a:p>
            <a:pPr marL="0" lvl="0" indent="0" algn="ctr" rtl="0">
              <a:spcBef>
                <a:spcPts val="0"/>
              </a:spcBef>
              <a:spcAft>
                <a:spcPts val="0"/>
              </a:spcAft>
              <a:buNone/>
            </a:pPr>
            <a:r>
              <a:rPr lang="en-US" altLang="zh-CN" b="1">
                <a:solidFill>
                  <a:schemeClr val="lt1"/>
                </a:solidFill>
                <a:latin typeface="DM Sans"/>
                <a:ea typeface="DM Sans"/>
                <a:cs typeface="DM Sans"/>
                <a:sym typeface="DM Sans"/>
              </a:rPr>
              <a:t>Data Ingestion</a:t>
            </a:r>
            <a:endParaRPr b="1">
              <a:solidFill>
                <a:schemeClr val="lt1"/>
              </a:solidFill>
              <a:latin typeface="DM Sans"/>
              <a:ea typeface="DM Sans"/>
              <a:cs typeface="DM Sans"/>
              <a:sym typeface="DM Sans"/>
            </a:endParaRPr>
          </a:p>
        </p:txBody>
      </p:sp>
      <p:sp>
        <p:nvSpPr>
          <p:cNvPr id="950" name="Google Shape;950;p68"/>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a:t>Tools for Data Processing</a:t>
            </a:r>
            <a:endParaRPr/>
          </a:p>
        </p:txBody>
      </p:sp>
      <p:pic>
        <p:nvPicPr>
          <p:cNvPr id="5" name="图片 4" descr="图形用户界面, 文本, 应用程序, 聊天或短信&#10;&#10;描述已自动生成">
            <a:extLst>
              <a:ext uri="{FF2B5EF4-FFF2-40B4-BE49-F238E27FC236}">
                <a16:creationId xmlns:a16="http://schemas.microsoft.com/office/drawing/2014/main" id="{2AD92CE6-1099-7CFA-3E67-E7C4FE3E383E}"/>
              </a:ext>
            </a:extLst>
          </p:cNvPr>
          <p:cNvPicPr>
            <a:picLocks noChangeAspect="1"/>
          </p:cNvPicPr>
          <p:nvPr/>
        </p:nvPicPr>
        <p:blipFill>
          <a:blip r:embed="rId6"/>
          <a:stretch>
            <a:fillRect/>
          </a:stretch>
        </p:blipFill>
        <p:spPr>
          <a:xfrm>
            <a:off x="-4219" y="2278591"/>
            <a:ext cx="1350121" cy="675061"/>
          </a:xfrm>
          <a:prstGeom prst="rect">
            <a:avLst/>
          </a:prstGeom>
        </p:spPr>
      </p:pic>
      <p:pic>
        <p:nvPicPr>
          <p:cNvPr id="1028" name="Picture 4" descr="Instituto Brasileiro de Geografia e Estatística - Crunchbase Company  Profile &amp; Funding">
            <a:extLst>
              <a:ext uri="{FF2B5EF4-FFF2-40B4-BE49-F238E27FC236}">
                <a16:creationId xmlns:a16="http://schemas.microsoft.com/office/drawing/2014/main" id="{0CF85E39-39CF-6318-B6F9-1BA6E7F44A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0929" y="2970783"/>
            <a:ext cx="857672" cy="22622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rawl, online scraper, information stealer, web crawler icon - Download on  Iconfinder">
            <a:extLst>
              <a:ext uri="{FF2B5EF4-FFF2-40B4-BE49-F238E27FC236}">
                <a16:creationId xmlns:a16="http://schemas.microsoft.com/office/drawing/2014/main" id="{997E4AE9-B9CC-BD1A-606C-FEFED58916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741" y="2314238"/>
            <a:ext cx="597504" cy="597504"/>
          </a:xfrm>
          <a:prstGeom prst="rect">
            <a:avLst/>
          </a:prstGeom>
          <a:noFill/>
          <a:extLst>
            <a:ext uri="{909E8E84-426E-40DD-AFC4-6F175D3DCCD1}">
              <a14:hiddenFill xmlns:a14="http://schemas.microsoft.com/office/drawing/2010/main">
                <a:solidFill>
                  <a:srgbClr val="FFFFFF"/>
                </a:solidFill>
              </a14:hiddenFill>
            </a:ext>
          </a:extLst>
        </p:spPr>
      </p:pic>
      <p:pic>
        <p:nvPicPr>
          <p:cNvPr id="11" name="图形 10" descr="播放 纯色填充">
            <a:extLst>
              <a:ext uri="{FF2B5EF4-FFF2-40B4-BE49-F238E27FC236}">
                <a16:creationId xmlns:a16="http://schemas.microsoft.com/office/drawing/2014/main" id="{70CAAF93-0134-C07D-9333-771F798C74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13541" y="2451125"/>
            <a:ext cx="271487" cy="597503"/>
          </a:xfrm>
          <a:prstGeom prst="rect">
            <a:avLst/>
          </a:prstGeom>
        </p:spPr>
      </p:pic>
      <p:sp>
        <p:nvSpPr>
          <p:cNvPr id="12" name="Google Shape;908;p68">
            <a:extLst>
              <a:ext uri="{FF2B5EF4-FFF2-40B4-BE49-F238E27FC236}">
                <a16:creationId xmlns:a16="http://schemas.microsoft.com/office/drawing/2014/main" id="{E26B6962-00EB-3FD7-6BB9-F219D0B79694}"/>
              </a:ext>
            </a:extLst>
          </p:cNvPr>
          <p:cNvSpPr txBox="1"/>
          <p:nvPr/>
        </p:nvSpPr>
        <p:spPr>
          <a:xfrm>
            <a:off x="1993053" y="1772400"/>
            <a:ext cx="1569600" cy="466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b="1">
                <a:solidFill>
                  <a:schemeClr val="lt1"/>
                </a:solidFill>
                <a:latin typeface="DM Sans"/>
                <a:ea typeface="DM Sans"/>
                <a:cs typeface="DM Sans"/>
                <a:sym typeface="DM Sans"/>
              </a:rPr>
              <a:t>ETL Process</a:t>
            </a:r>
            <a:endParaRPr b="1">
              <a:solidFill>
                <a:schemeClr val="lt1"/>
              </a:solidFill>
              <a:latin typeface="DM Sans"/>
              <a:ea typeface="DM Sans"/>
              <a:cs typeface="DM Sans"/>
              <a:sym typeface="DM Sans"/>
            </a:endParaRPr>
          </a:p>
        </p:txBody>
      </p:sp>
      <p:pic>
        <p:nvPicPr>
          <p:cNvPr id="1032" name="Picture 8" descr="python&quot; Icon - Download for free – Iconduck">
            <a:extLst>
              <a:ext uri="{FF2B5EF4-FFF2-40B4-BE49-F238E27FC236}">
                <a16:creationId xmlns:a16="http://schemas.microsoft.com/office/drawing/2014/main" id="{5D51B5C7-3C1B-B971-7559-E712A905C27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00085" y="2428503"/>
            <a:ext cx="466201" cy="46620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OpenRefine | Metadata Management Tools">
            <a:extLst>
              <a:ext uri="{FF2B5EF4-FFF2-40B4-BE49-F238E27FC236}">
                <a16:creationId xmlns:a16="http://schemas.microsoft.com/office/drawing/2014/main" id="{13CE4688-D523-B1D5-24B4-2F8E09D7A2C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2369" y="3010233"/>
            <a:ext cx="1258874" cy="25986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0B82FB93-95E3-427D-C684-ED7500F65C7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24862" y="2397663"/>
            <a:ext cx="559323" cy="527879"/>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908;p68">
            <a:extLst>
              <a:ext uri="{FF2B5EF4-FFF2-40B4-BE49-F238E27FC236}">
                <a16:creationId xmlns:a16="http://schemas.microsoft.com/office/drawing/2014/main" id="{AC3C5E3F-7C5B-87E5-1EF6-46C197D22A36}"/>
              </a:ext>
            </a:extLst>
          </p:cNvPr>
          <p:cNvSpPr txBox="1"/>
          <p:nvPr/>
        </p:nvSpPr>
        <p:spPr>
          <a:xfrm>
            <a:off x="3490713" y="1765180"/>
            <a:ext cx="1569600" cy="466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b="1">
                <a:solidFill>
                  <a:schemeClr val="lt1"/>
                </a:solidFill>
                <a:latin typeface="DM Sans"/>
                <a:ea typeface="DM Sans"/>
                <a:cs typeface="DM Sans"/>
                <a:sym typeface="DM Sans"/>
              </a:rPr>
              <a:t>Data Warehouse</a:t>
            </a:r>
            <a:endParaRPr b="1">
              <a:solidFill>
                <a:schemeClr val="lt1"/>
              </a:solidFill>
              <a:latin typeface="DM Sans"/>
              <a:ea typeface="DM Sans"/>
              <a:cs typeface="DM Sans"/>
              <a:sym typeface="DM Sans"/>
            </a:endParaRPr>
          </a:p>
        </p:txBody>
      </p:sp>
      <p:pic>
        <p:nvPicPr>
          <p:cNvPr id="1040" name="Picture 16">
            <a:extLst>
              <a:ext uri="{FF2B5EF4-FFF2-40B4-BE49-F238E27FC236}">
                <a16:creationId xmlns:a16="http://schemas.microsoft.com/office/drawing/2014/main" id="{E8561E7D-84B2-A3F5-AD80-2E76FA6ECCD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45963" y="2451125"/>
            <a:ext cx="662754" cy="66275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MySQL logo PNG transparent image download, size: 300x300px">
            <a:extLst>
              <a:ext uri="{FF2B5EF4-FFF2-40B4-BE49-F238E27FC236}">
                <a16:creationId xmlns:a16="http://schemas.microsoft.com/office/drawing/2014/main" id="{2F051B98-B7C6-0078-C041-7E9C6E802F6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61756" y="2345708"/>
            <a:ext cx="827257" cy="827257"/>
          </a:xfrm>
          <a:prstGeom prst="rect">
            <a:avLst/>
          </a:prstGeom>
          <a:noFill/>
          <a:extLst>
            <a:ext uri="{909E8E84-426E-40DD-AFC4-6F175D3DCCD1}">
              <a14:hiddenFill xmlns:a14="http://schemas.microsoft.com/office/drawing/2010/main">
                <a:solidFill>
                  <a:srgbClr val="FFFFFF"/>
                </a:solidFill>
              </a14:hiddenFill>
            </a:ext>
          </a:extLst>
        </p:spPr>
      </p:pic>
      <p:sp>
        <p:nvSpPr>
          <p:cNvPr id="17" name="Google Shape;908;p68">
            <a:extLst>
              <a:ext uri="{FF2B5EF4-FFF2-40B4-BE49-F238E27FC236}">
                <a16:creationId xmlns:a16="http://schemas.microsoft.com/office/drawing/2014/main" id="{E6D9D1FE-7B89-0A52-0A1F-1065B2C41EFE}"/>
              </a:ext>
            </a:extLst>
          </p:cNvPr>
          <p:cNvSpPr txBox="1"/>
          <p:nvPr/>
        </p:nvSpPr>
        <p:spPr>
          <a:xfrm>
            <a:off x="4862193" y="1765180"/>
            <a:ext cx="1569600" cy="466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b="1">
                <a:solidFill>
                  <a:schemeClr val="lt1"/>
                </a:solidFill>
                <a:latin typeface="DM Sans"/>
                <a:ea typeface="DM Sans"/>
                <a:cs typeface="DM Sans"/>
                <a:sym typeface="DM Sans"/>
              </a:rPr>
              <a:t>Analytics &amp; Modeling</a:t>
            </a:r>
            <a:endParaRPr b="1">
              <a:solidFill>
                <a:schemeClr val="lt1"/>
              </a:solidFill>
              <a:latin typeface="DM Sans"/>
              <a:ea typeface="DM Sans"/>
              <a:cs typeface="DM Sans"/>
              <a:sym typeface="DM Sans"/>
            </a:endParaRPr>
          </a:p>
        </p:txBody>
      </p:sp>
      <p:pic>
        <p:nvPicPr>
          <p:cNvPr id="18" name="Picture 8" descr="python&quot; Icon - Download for free – Iconduck">
            <a:extLst>
              <a:ext uri="{FF2B5EF4-FFF2-40B4-BE49-F238E27FC236}">
                <a16:creationId xmlns:a16="http://schemas.microsoft.com/office/drawing/2014/main" id="{507DE667-7AD4-6AFC-1771-D52A365817A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33026" y="2468566"/>
            <a:ext cx="643832" cy="643832"/>
          </a:xfrm>
          <a:prstGeom prst="rect">
            <a:avLst/>
          </a:prstGeom>
          <a:noFill/>
          <a:extLst>
            <a:ext uri="{909E8E84-426E-40DD-AFC4-6F175D3DCCD1}">
              <a14:hiddenFill xmlns:a14="http://schemas.microsoft.com/office/drawing/2010/main">
                <a:solidFill>
                  <a:srgbClr val="FFFFFF"/>
                </a:solidFill>
              </a14:hiddenFill>
            </a:ext>
          </a:extLst>
        </p:spPr>
      </p:pic>
      <p:sp>
        <p:nvSpPr>
          <p:cNvPr id="20" name="Google Shape;908;p68">
            <a:extLst>
              <a:ext uri="{FF2B5EF4-FFF2-40B4-BE49-F238E27FC236}">
                <a16:creationId xmlns:a16="http://schemas.microsoft.com/office/drawing/2014/main" id="{1772B85D-0466-3B67-AF87-75AF3DD1EE54}"/>
              </a:ext>
            </a:extLst>
          </p:cNvPr>
          <p:cNvSpPr txBox="1"/>
          <p:nvPr/>
        </p:nvSpPr>
        <p:spPr>
          <a:xfrm>
            <a:off x="6279393" y="1759051"/>
            <a:ext cx="1569600" cy="466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b="1">
                <a:solidFill>
                  <a:schemeClr val="lt1"/>
                </a:solidFill>
                <a:latin typeface="DM Sans"/>
                <a:ea typeface="DM Sans"/>
                <a:cs typeface="DM Sans"/>
                <a:sym typeface="DM Sans"/>
              </a:rPr>
              <a:t>Visualization</a:t>
            </a:r>
            <a:endParaRPr b="1">
              <a:solidFill>
                <a:schemeClr val="lt1"/>
              </a:solidFill>
              <a:latin typeface="DM Sans"/>
              <a:ea typeface="DM Sans"/>
              <a:cs typeface="DM Sans"/>
              <a:sym typeface="DM Sans"/>
            </a:endParaRPr>
          </a:p>
        </p:txBody>
      </p:sp>
      <p:pic>
        <p:nvPicPr>
          <p:cNvPr id="1050" name="Picture 26" descr="Tableau full logo transparent PNG - StickPNG">
            <a:extLst>
              <a:ext uri="{FF2B5EF4-FFF2-40B4-BE49-F238E27FC236}">
                <a16:creationId xmlns:a16="http://schemas.microsoft.com/office/drawing/2014/main" id="{63D13C51-42FC-CB62-A30B-F66168DC2D0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13816" y="2527415"/>
            <a:ext cx="980715" cy="551652"/>
          </a:xfrm>
          <a:prstGeom prst="rect">
            <a:avLst/>
          </a:prstGeom>
          <a:noFill/>
          <a:extLst>
            <a:ext uri="{909E8E84-426E-40DD-AFC4-6F175D3DCCD1}">
              <a14:hiddenFill xmlns:a14="http://schemas.microsoft.com/office/drawing/2010/main">
                <a:solidFill>
                  <a:srgbClr val="FFFFFF"/>
                </a:solidFill>
              </a14:hiddenFill>
            </a:ext>
          </a:extLst>
        </p:spPr>
      </p:pic>
      <p:sp>
        <p:nvSpPr>
          <p:cNvPr id="24" name="Google Shape;908;p68">
            <a:extLst>
              <a:ext uri="{FF2B5EF4-FFF2-40B4-BE49-F238E27FC236}">
                <a16:creationId xmlns:a16="http://schemas.microsoft.com/office/drawing/2014/main" id="{931BC486-0B0A-D907-D7A4-C3661B36CA44}"/>
              </a:ext>
            </a:extLst>
          </p:cNvPr>
          <p:cNvSpPr txBox="1"/>
          <p:nvPr/>
        </p:nvSpPr>
        <p:spPr>
          <a:xfrm>
            <a:off x="7659393" y="1752922"/>
            <a:ext cx="1569600" cy="466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b="1">
                <a:solidFill>
                  <a:schemeClr val="lt1"/>
                </a:solidFill>
                <a:latin typeface="DM Sans"/>
                <a:ea typeface="DM Sans"/>
                <a:cs typeface="DM Sans"/>
                <a:sym typeface="DM Sans"/>
              </a:rPr>
              <a:t>Insights Reporting</a:t>
            </a:r>
            <a:endParaRPr b="1">
              <a:solidFill>
                <a:schemeClr val="lt1"/>
              </a:solidFill>
              <a:latin typeface="DM Sans"/>
              <a:ea typeface="DM Sans"/>
              <a:cs typeface="DM Sans"/>
              <a:sym typeface="DM Sans"/>
            </a:endParaRPr>
          </a:p>
        </p:txBody>
      </p:sp>
      <p:pic>
        <p:nvPicPr>
          <p:cNvPr id="25" name="图形 24" descr="播放 纯色填充">
            <a:extLst>
              <a:ext uri="{FF2B5EF4-FFF2-40B4-BE49-F238E27FC236}">
                <a16:creationId xmlns:a16="http://schemas.microsoft.com/office/drawing/2014/main" id="{18241D1D-AF43-F9CE-30C6-B2E86616D7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15873" y="2460586"/>
            <a:ext cx="271487" cy="597503"/>
          </a:xfrm>
          <a:prstGeom prst="rect">
            <a:avLst/>
          </a:prstGeom>
        </p:spPr>
      </p:pic>
      <p:pic>
        <p:nvPicPr>
          <p:cNvPr id="26" name="图形 25" descr="播放 纯色填充">
            <a:extLst>
              <a:ext uri="{FF2B5EF4-FFF2-40B4-BE49-F238E27FC236}">
                <a16:creationId xmlns:a16="http://schemas.microsoft.com/office/drawing/2014/main" id="{E7A5A94B-4D42-FAA0-72E0-BBB3A215A08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58357" y="2465180"/>
            <a:ext cx="271487" cy="597503"/>
          </a:xfrm>
          <a:prstGeom prst="rect">
            <a:avLst/>
          </a:prstGeom>
        </p:spPr>
      </p:pic>
      <p:pic>
        <p:nvPicPr>
          <p:cNvPr id="27" name="图形 26" descr="播放 纯色填充">
            <a:extLst>
              <a:ext uri="{FF2B5EF4-FFF2-40B4-BE49-F238E27FC236}">
                <a16:creationId xmlns:a16="http://schemas.microsoft.com/office/drawing/2014/main" id="{746811F6-1489-57C7-4B16-874539C9C1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33524" y="2460586"/>
            <a:ext cx="271487" cy="597503"/>
          </a:xfrm>
          <a:prstGeom prst="rect">
            <a:avLst/>
          </a:prstGeom>
        </p:spPr>
      </p:pic>
      <p:pic>
        <p:nvPicPr>
          <p:cNvPr id="28" name="图形 27" descr="播放 纯色填充">
            <a:extLst>
              <a:ext uri="{FF2B5EF4-FFF2-40B4-BE49-F238E27FC236}">
                <a16:creationId xmlns:a16="http://schemas.microsoft.com/office/drawing/2014/main" id="{544BD9A8-35E7-7D28-8CFF-A5B5D8C641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53553" y="2460586"/>
            <a:ext cx="271487" cy="597503"/>
          </a:xfrm>
          <a:prstGeom prst="rect">
            <a:avLst/>
          </a:prstGeom>
        </p:spPr>
      </p:pic>
      <p:sp>
        <p:nvSpPr>
          <p:cNvPr id="4" name="文本框 3">
            <a:extLst>
              <a:ext uri="{FF2B5EF4-FFF2-40B4-BE49-F238E27FC236}">
                <a16:creationId xmlns:a16="http://schemas.microsoft.com/office/drawing/2014/main" id="{3A43D980-EDA7-4585-B2AA-3AC7F3A982D7}"/>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0</a:t>
            </a:r>
          </a:p>
        </p:txBody>
      </p:sp>
    </p:spTree>
    <p:extLst>
      <p:ext uri="{BB962C8B-B14F-4D97-AF65-F5344CB8AC3E}">
        <p14:creationId xmlns:p14="http://schemas.microsoft.com/office/powerpoint/2010/main" val="364185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ACEE4E-2DDB-3004-EB15-78078078C6F9}"/>
              </a:ext>
            </a:extLst>
          </p:cNvPr>
          <p:cNvGraphicFramePr>
            <a:graphicFrameLocks noChangeAspect="1"/>
          </p:cNvGraphicFramePr>
          <p:nvPr>
            <p:custDataLst>
              <p:tags r:id="rId1"/>
            </p:custDataLst>
            <p:extLst>
              <p:ext uri="{D42A27DB-BD31-4B8C-83A1-F6EECF244321}">
                <p14:modId xmlns:p14="http://schemas.microsoft.com/office/powerpoint/2010/main" val="264196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5" imgH="424" progId="TCLayout.ActiveDocument.1">
                  <p:embed/>
                </p:oleObj>
              </mc:Choice>
              <mc:Fallback>
                <p:oleObj name="think-cell 幻灯片" r:id="rId3" imgW="425" imgH="424" progId="TCLayout.ActiveDocument.1">
                  <p:embed/>
                  <p:pic>
                    <p:nvPicPr>
                      <p:cNvPr id="5" name="think-cell data - do not delete" hidden="1">
                        <a:extLst>
                          <a:ext uri="{FF2B5EF4-FFF2-40B4-BE49-F238E27FC236}">
                            <a16:creationId xmlns:a16="http://schemas.microsoft.com/office/drawing/2014/main" id="{FCACEE4E-2DDB-3004-EB15-78078078C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6852EB3E-5202-6CB0-3E00-4C5DAADCAFE0}"/>
              </a:ext>
            </a:extLst>
          </p:cNvPr>
          <p:cNvSpPr>
            <a:spLocks noGrp="1"/>
          </p:cNvSpPr>
          <p:nvPr>
            <p:ph type="title"/>
          </p:nvPr>
        </p:nvSpPr>
        <p:spPr/>
        <p:txBody>
          <a:bodyPr vert="horz"/>
          <a:lstStyle/>
          <a:p>
            <a:pPr algn="l"/>
            <a:r>
              <a:rPr lang="en-US" altLang="zh-CN"/>
              <a:t>Data Ingestion</a:t>
            </a:r>
            <a:endParaRPr lang="zh-CN" altLang="en-US"/>
          </a:p>
        </p:txBody>
      </p:sp>
      <p:sp>
        <p:nvSpPr>
          <p:cNvPr id="8" name="文本框 7">
            <a:extLst>
              <a:ext uri="{FF2B5EF4-FFF2-40B4-BE49-F238E27FC236}">
                <a16:creationId xmlns:a16="http://schemas.microsoft.com/office/drawing/2014/main" id="{E9918DC9-22DC-2333-5859-48820492F261}"/>
              </a:ext>
            </a:extLst>
          </p:cNvPr>
          <p:cNvSpPr txBox="1"/>
          <p:nvPr/>
        </p:nvSpPr>
        <p:spPr>
          <a:xfrm>
            <a:off x="5305241" y="2251124"/>
            <a:ext cx="3917876" cy="492443"/>
          </a:xfrm>
          <a:prstGeom prst="rect">
            <a:avLst/>
          </a:prstGeom>
          <a:noFill/>
        </p:spPr>
        <p:txBody>
          <a:bodyPr wrap="square" rtlCol="0">
            <a:spAutoFit/>
          </a:bodyPr>
          <a:lstStyle/>
          <a:p>
            <a:r>
              <a:rPr lang="en-US" altLang="zh-CN" b="1">
                <a:solidFill>
                  <a:schemeClr val="bg1"/>
                </a:solidFill>
                <a:latin typeface="DM Sans" pitchFamily="2" charset="0"/>
              </a:rPr>
              <a:t>Snapshot of Column Profile</a:t>
            </a:r>
          </a:p>
          <a:p>
            <a:r>
              <a:rPr lang="en-US" altLang="zh-CN" sz="1200">
                <a:solidFill>
                  <a:schemeClr val="bg1"/>
                </a:solidFill>
                <a:latin typeface="DM Sans" pitchFamily="2" charset="0"/>
              </a:rPr>
              <a:t>Data types, missing value, entropy of each column</a:t>
            </a:r>
            <a:endParaRPr lang="zh-CN" altLang="en-US" sz="1200">
              <a:solidFill>
                <a:schemeClr val="bg1"/>
              </a:solidFill>
              <a:latin typeface="DM Sans" pitchFamily="2" charset="0"/>
            </a:endParaRPr>
          </a:p>
        </p:txBody>
      </p:sp>
      <p:sp>
        <p:nvSpPr>
          <p:cNvPr id="4" name="文本框 3">
            <a:extLst>
              <a:ext uri="{FF2B5EF4-FFF2-40B4-BE49-F238E27FC236}">
                <a16:creationId xmlns:a16="http://schemas.microsoft.com/office/drawing/2014/main" id="{33C31457-A553-E078-65C9-B26444798AEA}"/>
              </a:ext>
            </a:extLst>
          </p:cNvPr>
          <p:cNvSpPr txBox="1"/>
          <p:nvPr/>
        </p:nvSpPr>
        <p:spPr>
          <a:xfrm>
            <a:off x="5262517" y="117270"/>
            <a:ext cx="3881483" cy="492443"/>
          </a:xfrm>
          <a:prstGeom prst="rect">
            <a:avLst/>
          </a:prstGeom>
          <a:noFill/>
        </p:spPr>
        <p:txBody>
          <a:bodyPr wrap="square" lIns="91440" tIns="45720" rIns="91440" bIns="45720" rtlCol="0" anchor="t">
            <a:spAutoFit/>
          </a:bodyPr>
          <a:lstStyle/>
          <a:p>
            <a:r>
              <a:rPr lang="en-US" altLang="zh-CN" b="1">
                <a:solidFill>
                  <a:schemeClr val="bg1"/>
                </a:solidFill>
                <a:latin typeface="DM Sans" pitchFamily="2" charset="0"/>
              </a:rPr>
              <a:t>Web Scraping</a:t>
            </a:r>
          </a:p>
          <a:p>
            <a:r>
              <a:rPr lang="en-US" altLang="zh-CN" sz="1200">
                <a:solidFill>
                  <a:schemeClr val="bg1"/>
                </a:solidFill>
                <a:latin typeface="DM Sans" pitchFamily="2" charset="0"/>
              </a:rPr>
              <a:t>Brazilian state-level macro-economic data</a:t>
            </a:r>
            <a:endParaRPr lang="zh-CN" altLang="en-US" sz="1200">
              <a:solidFill>
                <a:schemeClr val="bg1"/>
              </a:solidFill>
              <a:latin typeface="DM Sans" pitchFamily="2" charset="0"/>
            </a:endParaRPr>
          </a:p>
        </p:txBody>
      </p:sp>
      <p:pic>
        <p:nvPicPr>
          <p:cNvPr id="9" name="图片 8">
            <a:extLst>
              <a:ext uri="{FF2B5EF4-FFF2-40B4-BE49-F238E27FC236}">
                <a16:creationId xmlns:a16="http://schemas.microsoft.com/office/drawing/2014/main" id="{E51F17BC-2E1D-E43F-CC3C-9C327711FBC4}"/>
              </a:ext>
            </a:extLst>
          </p:cNvPr>
          <p:cNvPicPr>
            <a:picLocks noChangeAspect="1"/>
          </p:cNvPicPr>
          <p:nvPr/>
        </p:nvPicPr>
        <p:blipFill rotWithShape="1">
          <a:blip r:embed="rId5"/>
          <a:srcRect b="17753"/>
          <a:stretch/>
        </p:blipFill>
        <p:spPr>
          <a:xfrm>
            <a:off x="5305241" y="2816304"/>
            <a:ext cx="2687663" cy="2096540"/>
          </a:xfrm>
          <a:prstGeom prst="rect">
            <a:avLst/>
          </a:prstGeom>
          <a:ln w="28575">
            <a:solidFill>
              <a:srgbClr val="7E2C84"/>
            </a:solidFill>
          </a:ln>
        </p:spPr>
      </p:pic>
      <p:pic>
        <p:nvPicPr>
          <p:cNvPr id="3074" name="Picture 2" descr="Data Schema">
            <a:extLst>
              <a:ext uri="{FF2B5EF4-FFF2-40B4-BE49-F238E27FC236}">
                <a16:creationId xmlns:a16="http://schemas.microsoft.com/office/drawing/2014/main" id="{A149FA41-8AED-10D7-5D1D-6BCF60D380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2640" y="2151123"/>
            <a:ext cx="4209360" cy="2533121"/>
          </a:xfrm>
          <a:prstGeom prst="rect">
            <a:avLst/>
          </a:prstGeom>
          <a:noFill/>
          <a:extLst>
            <a:ext uri="{909E8E84-426E-40DD-AFC4-6F175D3DCCD1}">
              <a14:hiddenFill xmlns:a14="http://schemas.microsoft.com/office/drawing/2010/main">
                <a:solidFill>
                  <a:srgbClr val="FFFFFF"/>
                </a:solidFill>
              </a14:hiddenFill>
            </a:ext>
          </a:extLst>
        </p:spPr>
      </p:pic>
      <p:sp>
        <p:nvSpPr>
          <p:cNvPr id="10" name="文本框 9">
            <a:extLst>
              <a:ext uri="{FF2B5EF4-FFF2-40B4-BE49-F238E27FC236}">
                <a16:creationId xmlns:a16="http://schemas.microsoft.com/office/drawing/2014/main" id="{F800D876-AF72-3ED0-6B9C-DBBAE363A481}"/>
              </a:ext>
            </a:extLst>
          </p:cNvPr>
          <p:cNvSpPr txBox="1"/>
          <p:nvPr/>
        </p:nvSpPr>
        <p:spPr>
          <a:xfrm>
            <a:off x="820221" y="1555522"/>
            <a:ext cx="4102419" cy="492443"/>
          </a:xfrm>
          <a:prstGeom prst="rect">
            <a:avLst/>
          </a:prstGeom>
          <a:noFill/>
        </p:spPr>
        <p:txBody>
          <a:bodyPr wrap="square" rtlCol="0">
            <a:spAutoFit/>
          </a:bodyPr>
          <a:lstStyle/>
          <a:p>
            <a:r>
              <a:rPr lang="en-US" altLang="zh-CN" b="1">
                <a:solidFill>
                  <a:schemeClr val="bg1"/>
                </a:solidFill>
                <a:latin typeface="DM Sans" pitchFamily="2" charset="0"/>
              </a:rPr>
              <a:t>E-Commerce Data: Public Dataset by </a:t>
            </a:r>
            <a:r>
              <a:rPr lang="en-US" altLang="zh-CN" b="1" err="1">
                <a:solidFill>
                  <a:schemeClr val="bg1"/>
                </a:solidFill>
                <a:latin typeface="DM Sans" pitchFamily="2" charset="0"/>
              </a:rPr>
              <a:t>Olist</a:t>
            </a:r>
            <a:endParaRPr lang="en-US" altLang="zh-CN" b="1">
              <a:solidFill>
                <a:schemeClr val="bg1"/>
              </a:solidFill>
              <a:latin typeface="DM Sans" pitchFamily="2" charset="0"/>
            </a:endParaRPr>
          </a:p>
          <a:p>
            <a:r>
              <a:rPr lang="en-US" altLang="zh-CN" sz="1200">
                <a:solidFill>
                  <a:schemeClr val="bg1"/>
                </a:solidFill>
                <a:latin typeface="DM Sans" pitchFamily="2" charset="0"/>
              </a:rPr>
              <a:t>Tables connected by foreign keys</a:t>
            </a:r>
            <a:endParaRPr lang="zh-CN" altLang="en-US" sz="1200">
              <a:solidFill>
                <a:schemeClr val="bg1"/>
              </a:solidFill>
              <a:latin typeface="DM Sans" pitchFamily="2" charset="0"/>
            </a:endParaRPr>
          </a:p>
        </p:txBody>
      </p:sp>
      <p:pic>
        <p:nvPicPr>
          <p:cNvPr id="11" name="图片 10">
            <a:extLst>
              <a:ext uri="{FF2B5EF4-FFF2-40B4-BE49-F238E27FC236}">
                <a16:creationId xmlns:a16="http://schemas.microsoft.com/office/drawing/2014/main" id="{2593124A-790A-0A98-19F1-4E4D3BD9A26B}"/>
              </a:ext>
            </a:extLst>
          </p:cNvPr>
          <p:cNvPicPr>
            <a:picLocks noChangeAspect="1"/>
          </p:cNvPicPr>
          <p:nvPr/>
        </p:nvPicPr>
        <p:blipFill>
          <a:blip r:embed="rId7"/>
          <a:stretch>
            <a:fillRect/>
          </a:stretch>
        </p:blipFill>
        <p:spPr>
          <a:xfrm>
            <a:off x="5221685" y="715169"/>
            <a:ext cx="2854774" cy="1350502"/>
          </a:xfrm>
          <a:prstGeom prst="rect">
            <a:avLst/>
          </a:prstGeom>
        </p:spPr>
      </p:pic>
      <p:pic>
        <p:nvPicPr>
          <p:cNvPr id="13" name="图形 12" descr="研究 纯色填充">
            <a:extLst>
              <a:ext uri="{FF2B5EF4-FFF2-40B4-BE49-F238E27FC236}">
                <a16:creationId xmlns:a16="http://schemas.microsoft.com/office/drawing/2014/main" id="{2817F344-9CB5-CB08-077E-26F70CB1DD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7241" y="117270"/>
            <a:ext cx="468000" cy="468000"/>
          </a:xfrm>
          <a:prstGeom prst="rect">
            <a:avLst/>
          </a:prstGeom>
        </p:spPr>
      </p:pic>
      <p:pic>
        <p:nvPicPr>
          <p:cNvPr id="16" name="图形 15" descr="商店 纯色填充">
            <a:extLst>
              <a:ext uri="{FF2B5EF4-FFF2-40B4-BE49-F238E27FC236}">
                <a16:creationId xmlns:a16="http://schemas.microsoft.com/office/drawing/2014/main" id="{B4158030-6E86-88A2-C461-69FB73293C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9841" y="1560123"/>
            <a:ext cx="468000" cy="468000"/>
          </a:xfrm>
          <a:prstGeom prst="rect">
            <a:avLst/>
          </a:prstGeom>
        </p:spPr>
      </p:pic>
      <p:pic>
        <p:nvPicPr>
          <p:cNvPr id="18" name="图形 17" descr="意见 纯色填充">
            <a:extLst>
              <a:ext uri="{FF2B5EF4-FFF2-40B4-BE49-F238E27FC236}">
                <a16:creationId xmlns:a16="http://schemas.microsoft.com/office/drawing/2014/main" id="{22750FFE-2C83-3946-4A52-CF830F771FB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37241" y="2268951"/>
            <a:ext cx="468000" cy="468000"/>
          </a:xfrm>
          <a:prstGeom prst="rect">
            <a:avLst/>
          </a:prstGeom>
        </p:spPr>
      </p:pic>
      <p:sp>
        <p:nvSpPr>
          <p:cNvPr id="6" name="文本框 5">
            <a:extLst>
              <a:ext uri="{FF2B5EF4-FFF2-40B4-BE49-F238E27FC236}">
                <a16:creationId xmlns:a16="http://schemas.microsoft.com/office/drawing/2014/main" id="{76E97DB0-6BE0-6FF3-94F1-9D2C4B35C2C3}"/>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1</a:t>
            </a:r>
            <a:endParaRPr lang="zh-CN"/>
          </a:p>
        </p:txBody>
      </p:sp>
    </p:spTree>
    <p:extLst>
      <p:ext uri="{BB962C8B-B14F-4D97-AF65-F5344CB8AC3E}">
        <p14:creationId xmlns:p14="http://schemas.microsoft.com/office/powerpoint/2010/main" val="4204675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D763DF0-6F6A-9E51-8B79-614B3DED311B}"/>
              </a:ext>
            </a:extLst>
          </p:cNvPr>
          <p:cNvGraphicFramePr>
            <a:graphicFrameLocks noChangeAspect="1"/>
          </p:cNvGraphicFramePr>
          <p:nvPr>
            <p:custDataLst>
              <p:tags r:id="rId1"/>
            </p:custDataLst>
            <p:extLst>
              <p:ext uri="{D42A27DB-BD31-4B8C-83A1-F6EECF244321}">
                <p14:modId xmlns:p14="http://schemas.microsoft.com/office/powerpoint/2010/main" val="298575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5" imgH="424" progId="TCLayout.ActiveDocument.1">
                  <p:embed/>
                </p:oleObj>
              </mc:Choice>
              <mc:Fallback>
                <p:oleObj name="think-cell 幻灯片" r:id="rId3" imgW="425" imgH="424" progId="TCLayout.ActiveDocument.1">
                  <p:embed/>
                  <p:pic>
                    <p:nvPicPr>
                      <p:cNvPr id="13" name="think-cell data - do not delete" hidden="1">
                        <a:extLst>
                          <a:ext uri="{FF2B5EF4-FFF2-40B4-BE49-F238E27FC236}">
                            <a16:creationId xmlns:a16="http://schemas.microsoft.com/office/drawing/2014/main" id="{0D763DF0-6F6A-9E51-8B79-614B3DED31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oogle Shape;5130;p87">
            <a:extLst>
              <a:ext uri="{FF2B5EF4-FFF2-40B4-BE49-F238E27FC236}">
                <a16:creationId xmlns:a16="http://schemas.microsoft.com/office/drawing/2014/main" id="{90962620-E1BC-153A-01D8-670A7D0CFA78}"/>
              </a:ext>
            </a:extLst>
          </p:cNvPr>
          <p:cNvGrpSpPr/>
          <p:nvPr/>
        </p:nvGrpSpPr>
        <p:grpSpPr>
          <a:xfrm rot="10800000">
            <a:off x="203713" y="1470166"/>
            <a:ext cx="3537707" cy="3480064"/>
            <a:chOff x="926675" y="238125"/>
            <a:chExt cx="5755100" cy="5232975"/>
          </a:xfrm>
        </p:grpSpPr>
        <p:sp>
          <p:nvSpPr>
            <p:cNvPr id="4" name="Google Shape;5131;p87">
              <a:extLst>
                <a:ext uri="{FF2B5EF4-FFF2-40B4-BE49-F238E27FC236}">
                  <a16:creationId xmlns:a16="http://schemas.microsoft.com/office/drawing/2014/main" id="{59F4687A-425D-7F77-AE64-3CF62722481A}"/>
                </a:ext>
              </a:extLst>
            </p:cNvPr>
            <p:cNvSpPr/>
            <p:nvPr/>
          </p:nvSpPr>
          <p:spPr>
            <a:xfrm>
              <a:off x="2235475" y="2161100"/>
              <a:ext cx="3138650" cy="1012350"/>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solidFill>
              <a:srgbClr val="C854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5132;p87">
              <a:extLst>
                <a:ext uri="{FF2B5EF4-FFF2-40B4-BE49-F238E27FC236}">
                  <a16:creationId xmlns:a16="http://schemas.microsoft.com/office/drawing/2014/main" id="{8CB68A69-DCB4-DC61-D2D4-4D60718B9108}"/>
                </a:ext>
              </a:extLst>
            </p:cNvPr>
            <p:cNvSpPr/>
            <p:nvPr/>
          </p:nvSpPr>
          <p:spPr>
            <a:xfrm>
              <a:off x="2825776" y="238125"/>
              <a:ext cx="1961900" cy="1850225"/>
            </a:xfrm>
            <a:custGeom>
              <a:avLst/>
              <a:gdLst/>
              <a:ahLst/>
              <a:cxnLst/>
              <a:rect l="l" t="t" r="r" b="b"/>
              <a:pathLst>
                <a:path w="78476" h="74009" extrusionOk="0">
                  <a:moveTo>
                    <a:pt x="39246" y="0"/>
                  </a:moveTo>
                  <a:lnTo>
                    <a:pt x="1" y="74009"/>
                  </a:lnTo>
                  <a:lnTo>
                    <a:pt x="78476" y="74009"/>
                  </a:lnTo>
                  <a:lnTo>
                    <a:pt x="39246" y="0"/>
                  </a:lnTo>
                  <a:close/>
                </a:path>
              </a:pathLst>
            </a:custGeom>
            <a:solidFill>
              <a:srgbClr val="861A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5133;p87">
              <a:extLst>
                <a:ext uri="{FF2B5EF4-FFF2-40B4-BE49-F238E27FC236}">
                  <a16:creationId xmlns:a16="http://schemas.microsoft.com/office/drawing/2014/main" id="{F3B68241-B064-59B9-E6B3-2B5540FA9E0C}"/>
                </a:ext>
              </a:extLst>
            </p:cNvPr>
            <p:cNvSpPr/>
            <p:nvPr/>
          </p:nvSpPr>
          <p:spPr>
            <a:xfrm>
              <a:off x="926675" y="4357100"/>
              <a:ext cx="5755100" cy="1114000"/>
            </a:xfrm>
            <a:custGeom>
              <a:avLst/>
              <a:gdLst/>
              <a:ahLst/>
              <a:cxnLst/>
              <a:rect l="l" t="t" r="r" b="b"/>
              <a:pathLst>
                <a:path w="230204" h="44560" extrusionOk="0">
                  <a:moveTo>
                    <a:pt x="25737" y="1"/>
                  </a:moveTo>
                  <a:lnTo>
                    <a:pt x="0" y="44560"/>
                  </a:lnTo>
                  <a:lnTo>
                    <a:pt x="230204" y="44560"/>
                  </a:lnTo>
                  <a:lnTo>
                    <a:pt x="204467" y="1"/>
                  </a:lnTo>
                  <a:close/>
                </a:path>
              </a:pathLst>
            </a:custGeom>
            <a:solidFill>
              <a:srgbClr val="EAC2B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7" name="Google Shape;5134;p87">
              <a:extLst>
                <a:ext uri="{FF2B5EF4-FFF2-40B4-BE49-F238E27FC236}">
                  <a16:creationId xmlns:a16="http://schemas.microsoft.com/office/drawing/2014/main" id="{C63F9D7B-28C6-0352-57E9-68CF7C298F90}"/>
                </a:ext>
              </a:extLst>
            </p:cNvPr>
            <p:cNvSpPr/>
            <p:nvPr/>
          </p:nvSpPr>
          <p:spPr>
            <a:xfrm>
              <a:off x="1621700" y="3256600"/>
              <a:ext cx="4370050" cy="1006950"/>
            </a:xfrm>
            <a:custGeom>
              <a:avLst/>
              <a:gdLst/>
              <a:ahLst/>
              <a:cxnLst/>
              <a:rect l="l" t="t" r="r" b="b"/>
              <a:pathLst>
                <a:path w="174802" h="40278" extrusionOk="0">
                  <a:moveTo>
                    <a:pt x="22750" y="1"/>
                  </a:moveTo>
                  <a:lnTo>
                    <a:pt x="0" y="40278"/>
                  </a:lnTo>
                  <a:lnTo>
                    <a:pt x="174802" y="40278"/>
                  </a:lnTo>
                  <a:lnTo>
                    <a:pt x="152053" y="1"/>
                  </a:lnTo>
                  <a:close/>
                </a:path>
              </a:pathLst>
            </a:custGeom>
            <a:solidFill>
              <a:srgbClr val="D99B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 name="标题 10">
            <a:extLst>
              <a:ext uri="{FF2B5EF4-FFF2-40B4-BE49-F238E27FC236}">
                <a16:creationId xmlns:a16="http://schemas.microsoft.com/office/drawing/2014/main" id="{88DB3CB2-6BE8-C296-CF8A-6B822229B037}"/>
              </a:ext>
            </a:extLst>
          </p:cNvPr>
          <p:cNvSpPr>
            <a:spLocks noGrp="1"/>
          </p:cNvSpPr>
          <p:nvPr>
            <p:ph type="title"/>
          </p:nvPr>
        </p:nvSpPr>
        <p:spPr/>
        <p:txBody>
          <a:bodyPr vert="horz"/>
          <a:lstStyle/>
          <a:p>
            <a:r>
              <a:rPr lang="en-US" altLang="zh-CN"/>
              <a:t>ETL – Process &amp; Details</a:t>
            </a:r>
            <a:endParaRPr lang="zh-CN" altLang="en-US"/>
          </a:p>
        </p:txBody>
      </p:sp>
      <p:sp>
        <p:nvSpPr>
          <p:cNvPr id="17" name="文本框 16">
            <a:extLst>
              <a:ext uri="{FF2B5EF4-FFF2-40B4-BE49-F238E27FC236}">
                <a16:creationId xmlns:a16="http://schemas.microsoft.com/office/drawing/2014/main" id="{445F5764-E96A-7E96-6980-373DEE37AE02}"/>
              </a:ext>
            </a:extLst>
          </p:cNvPr>
          <p:cNvSpPr txBox="1"/>
          <p:nvPr/>
        </p:nvSpPr>
        <p:spPr>
          <a:xfrm>
            <a:off x="578427" y="1162388"/>
            <a:ext cx="2785200" cy="307777"/>
          </a:xfrm>
          <a:prstGeom prst="rect">
            <a:avLst/>
          </a:prstGeom>
          <a:noFill/>
        </p:spPr>
        <p:txBody>
          <a:bodyPr wrap="square" rtlCol="0">
            <a:spAutoFit/>
          </a:bodyPr>
          <a:lstStyle/>
          <a:p>
            <a:pPr algn="ctr"/>
            <a:r>
              <a:rPr lang="en-US" altLang="zh-CN" b="1">
                <a:solidFill>
                  <a:schemeClr val="bg1"/>
                </a:solidFill>
                <a:latin typeface="DM Sans" pitchFamily="2" charset="0"/>
              </a:rPr>
              <a:t>The Process</a:t>
            </a:r>
            <a:endParaRPr lang="zh-CN" altLang="en-US" sz="1200">
              <a:solidFill>
                <a:schemeClr val="bg1"/>
              </a:solidFill>
              <a:latin typeface="DM Sans" pitchFamily="2" charset="0"/>
            </a:endParaRPr>
          </a:p>
        </p:txBody>
      </p:sp>
      <p:sp>
        <p:nvSpPr>
          <p:cNvPr id="18" name="文本框 17">
            <a:extLst>
              <a:ext uri="{FF2B5EF4-FFF2-40B4-BE49-F238E27FC236}">
                <a16:creationId xmlns:a16="http://schemas.microsoft.com/office/drawing/2014/main" id="{8F5F4FB2-8478-A3D2-A601-79C050C5C64F}"/>
              </a:ext>
            </a:extLst>
          </p:cNvPr>
          <p:cNvSpPr txBox="1"/>
          <p:nvPr/>
        </p:nvSpPr>
        <p:spPr>
          <a:xfrm>
            <a:off x="792980" y="1686696"/>
            <a:ext cx="2356093" cy="307777"/>
          </a:xfrm>
          <a:prstGeom prst="rect">
            <a:avLst/>
          </a:prstGeom>
          <a:noFill/>
        </p:spPr>
        <p:txBody>
          <a:bodyPr wrap="square" rtlCol="0">
            <a:spAutoFit/>
          </a:bodyPr>
          <a:lstStyle/>
          <a:p>
            <a:pPr algn="ctr"/>
            <a:r>
              <a:rPr lang="en-US" altLang="zh-CN" b="1" err="1">
                <a:latin typeface="DM Sans" pitchFamily="2" charset="0"/>
              </a:rPr>
              <a:t>Olist</a:t>
            </a:r>
            <a:r>
              <a:rPr lang="en-US" altLang="zh-CN" b="1">
                <a:latin typeface="DM Sans" pitchFamily="2" charset="0"/>
              </a:rPr>
              <a:t> Dataset</a:t>
            </a:r>
            <a:endParaRPr lang="zh-CN" altLang="en-US" b="1">
              <a:latin typeface="DM Sans" pitchFamily="2" charset="0"/>
            </a:endParaRPr>
          </a:p>
        </p:txBody>
      </p:sp>
      <p:graphicFrame>
        <p:nvGraphicFramePr>
          <p:cNvPr id="9" name="表格 9">
            <a:extLst>
              <a:ext uri="{FF2B5EF4-FFF2-40B4-BE49-F238E27FC236}">
                <a16:creationId xmlns:a16="http://schemas.microsoft.com/office/drawing/2014/main" id="{376104E5-0F31-20F9-19A9-24511964A041}"/>
              </a:ext>
            </a:extLst>
          </p:cNvPr>
          <p:cNvGraphicFramePr>
            <a:graphicFrameLocks noGrp="1"/>
          </p:cNvGraphicFramePr>
          <p:nvPr>
            <p:extLst>
              <p:ext uri="{D42A27DB-BD31-4B8C-83A1-F6EECF244321}">
                <p14:modId xmlns:p14="http://schemas.microsoft.com/office/powerpoint/2010/main" val="3522794443"/>
              </p:ext>
            </p:extLst>
          </p:nvPr>
        </p:nvGraphicFramePr>
        <p:xfrm>
          <a:off x="3899644" y="1470165"/>
          <a:ext cx="4970036" cy="3352800"/>
        </p:xfrm>
        <a:graphic>
          <a:graphicData uri="http://schemas.openxmlformats.org/drawingml/2006/table">
            <a:tbl>
              <a:tblPr firstRow="1" bandRow="1">
                <a:tableStyleId>{69CF1AB2-1976-4502-BF36-3FF5EA218861}</a:tableStyleId>
              </a:tblPr>
              <a:tblGrid>
                <a:gridCol w="2485018">
                  <a:extLst>
                    <a:ext uri="{9D8B030D-6E8A-4147-A177-3AD203B41FA5}">
                      <a16:colId xmlns:a16="http://schemas.microsoft.com/office/drawing/2014/main" val="2586717391"/>
                    </a:ext>
                  </a:extLst>
                </a:gridCol>
                <a:gridCol w="2485018">
                  <a:extLst>
                    <a:ext uri="{9D8B030D-6E8A-4147-A177-3AD203B41FA5}">
                      <a16:colId xmlns:a16="http://schemas.microsoft.com/office/drawing/2014/main" val="963915792"/>
                    </a:ext>
                  </a:extLst>
                </a:gridCol>
              </a:tblGrid>
              <a:tr h="370840">
                <a:tc>
                  <a:txBody>
                    <a:bodyPr/>
                    <a:lstStyle/>
                    <a:p>
                      <a:pPr lvl="0" algn="ctr"/>
                      <a:r>
                        <a:rPr lang="en-US" altLang="zh-CN">
                          <a:latin typeface="DM Sans" pitchFamily="2" charset="0"/>
                        </a:rPr>
                        <a:t>Olist Data</a:t>
                      </a:r>
                      <a:endParaRPr lang="zh-CN" altLang="en-US">
                        <a:latin typeface="DM Sans" pitchFamily="2" charset="0"/>
                      </a:endParaRPr>
                    </a:p>
                  </a:txBody>
                  <a:tcPr anchor="ctr">
                    <a:solidFill>
                      <a:srgbClr val="EAC2B4"/>
                    </a:solidFill>
                  </a:tcPr>
                </a:tc>
                <a:tc>
                  <a:txBody>
                    <a:bodyPr/>
                    <a:lstStyle/>
                    <a:p>
                      <a:pPr lvl="0" algn="ctr"/>
                      <a:r>
                        <a:rPr lang="en-US" altLang="zh-CN">
                          <a:latin typeface="DM Sans" pitchFamily="2" charset="0"/>
                        </a:rPr>
                        <a:t>Brazilian State-Level Macro-Economic Data</a:t>
                      </a:r>
                      <a:endParaRPr lang="zh-CN" altLang="en-US">
                        <a:latin typeface="DM Sans" pitchFamily="2" charset="0"/>
                      </a:endParaRPr>
                    </a:p>
                  </a:txBody>
                  <a:tcPr anchor="ctr">
                    <a:solidFill>
                      <a:srgbClr val="EAC2B4"/>
                    </a:solidFill>
                  </a:tcPr>
                </a:tc>
                <a:extLst>
                  <a:ext uri="{0D108BD9-81ED-4DB2-BD59-A6C34878D82A}">
                    <a16:rowId xmlns:a16="http://schemas.microsoft.com/office/drawing/2014/main" val="2079345313"/>
                  </a:ext>
                </a:extLst>
              </a:tr>
              <a:tr h="370840">
                <a:tc>
                  <a:txBody>
                    <a:bodyPr/>
                    <a:lstStyle/>
                    <a:p>
                      <a:r>
                        <a:rPr lang="en-US" altLang="zh-CN" sz="1200">
                          <a:latin typeface="DM Sans" pitchFamily="2" charset="0"/>
                        </a:rPr>
                        <a:t>Removed emojis in customer review for loading into database</a:t>
                      </a:r>
                      <a:endParaRPr lang="zh-CN" altLang="en-US" sz="1200">
                        <a:latin typeface="DM Sans" pitchFamily="2" charset="0"/>
                      </a:endParaRPr>
                    </a:p>
                  </a:txBody>
                  <a:tcPr anchor="ctr">
                    <a:solidFill>
                      <a:srgbClr val="EEEBE7"/>
                    </a:solidFill>
                  </a:tcPr>
                </a:tc>
                <a:tc>
                  <a:txBody>
                    <a:bodyPr/>
                    <a:lstStyle/>
                    <a:p>
                      <a:r>
                        <a:rPr lang="en-US" altLang="zh-CN" sz="1200">
                          <a:latin typeface="DM Sans" pitchFamily="2" charset="0"/>
                        </a:rPr>
                        <a:t>Calculated the annual average HDI, monthly household income, etc. for the years 2016-2018 (the time span of the dataset)</a:t>
                      </a:r>
                      <a:endParaRPr lang="zh-CN" altLang="en-US" sz="1200">
                        <a:latin typeface="DM Sans" pitchFamily="2" charset="0"/>
                      </a:endParaRPr>
                    </a:p>
                  </a:txBody>
                  <a:tcPr anchor="ctr">
                    <a:solidFill>
                      <a:srgbClr val="EEEBE7"/>
                    </a:solidFill>
                  </a:tcPr>
                </a:tc>
                <a:extLst>
                  <a:ext uri="{0D108BD9-81ED-4DB2-BD59-A6C34878D82A}">
                    <a16:rowId xmlns:a16="http://schemas.microsoft.com/office/drawing/2014/main" val="3404177584"/>
                  </a:ext>
                </a:extLst>
              </a:tr>
              <a:tr h="370840">
                <a:tc>
                  <a:txBody>
                    <a:bodyPr/>
                    <a:lstStyle/>
                    <a:p>
                      <a:r>
                        <a:rPr lang="en-US" altLang="zh-CN" sz="1200">
                          <a:latin typeface="DM Sans" pitchFamily="2" charset="0"/>
                        </a:rPr>
                        <a:t>Supplemented missing zipcodes, cities and states (0.84% of rows) from post-code.org</a:t>
                      </a:r>
                      <a:endParaRPr lang="zh-CN" altLang="en-US" sz="1200">
                        <a:latin typeface="DM Sans" pitchFamily="2" charset="0"/>
                      </a:endParaRPr>
                    </a:p>
                  </a:txBody>
                  <a:tcPr anchor="ctr">
                    <a:solidFill>
                      <a:srgbClr val="EEEBE7"/>
                    </a:solidFill>
                  </a:tcPr>
                </a:tc>
                <a:tc>
                  <a:txBody>
                    <a:bodyPr/>
                    <a:lstStyle/>
                    <a:p>
                      <a:r>
                        <a:rPr lang="en-US" altLang="zh-CN" sz="1200">
                          <a:latin typeface="DM Sans" pitchFamily="2" charset="0"/>
                        </a:rPr>
                        <a:t>Indexed all the attributes with State Abbreviations, for connecting Olist dataset</a:t>
                      </a:r>
                      <a:endParaRPr lang="zh-CN" altLang="en-US" sz="1200">
                        <a:latin typeface="DM Sans" pitchFamily="2" charset="0"/>
                      </a:endParaRPr>
                    </a:p>
                  </a:txBody>
                  <a:tcPr anchor="ctr">
                    <a:solidFill>
                      <a:srgbClr val="EEEBE7"/>
                    </a:solidFill>
                  </a:tcPr>
                </a:tc>
                <a:extLst>
                  <a:ext uri="{0D108BD9-81ED-4DB2-BD59-A6C34878D82A}">
                    <a16:rowId xmlns:a16="http://schemas.microsoft.com/office/drawing/2014/main" val="2709686831"/>
                  </a:ext>
                </a:extLst>
              </a:tr>
              <a:tr h="370840">
                <a:tc>
                  <a:txBody>
                    <a:bodyPr/>
                    <a:lstStyle/>
                    <a:p>
                      <a:r>
                        <a:rPr lang="en-US" altLang="zh-CN" sz="1200">
                          <a:latin typeface="DM Sans" pitchFamily="2" charset="0"/>
                        </a:rPr>
                        <a:t>Translated product categories from Portuguese to English</a:t>
                      </a:r>
                      <a:endParaRPr lang="zh-CN" altLang="en-US" sz="1200">
                        <a:latin typeface="DM Sans" pitchFamily="2" charset="0"/>
                      </a:endParaRPr>
                    </a:p>
                  </a:txBody>
                  <a:tcPr anchor="ctr">
                    <a:solidFill>
                      <a:srgbClr val="EEEBE7"/>
                    </a:solidFill>
                  </a:tcPr>
                </a:tc>
                <a:tc>
                  <a:txBody>
                    <a:bodyPr/>
                    <a:lstStyle/>
                    <a:p>
                      <a:r>
                        <a:rPr lang="en-US" altLang="zh-CN" sz="1200">
                          <a:latin typeface="DM Sans" pitchFamily="2" charset="0"/>
                        </a:rPr>
                        <a:t>Total of 27 records for all states in Brazil</a:t>
                      </a:r>
                      <a:endParaRPr lang="zh-CN" altLang="en-US" sz="1200">
                        <a:latin typeface="DM Sans" pitchFamily="2" charset="0"/>
                      </a:endParaRPr>
                    </a:p>
                  </a:txBody>
                  <a:tcPr anchor="ctr">
                    <a:solidFill>
                      <a:srgbClr val="EEEBE7"/>
                    </a:solidFill>
                  </a:tcPr>
                </a:tc>
                <a:extLst>
                  <a:ext uri="{0D108BD9-81ED-4DB2-BD59-A6C34878D82A}">
                    <a16:rowId xmlns:a16="http://schemas.microsoft.com/office/drawing/2014/main" val="2616643741"/>
                  </a:ext>
                </a:extLst>
              </a:tr>
              <a:tr h="370840">
                <a:tc>
                  <a:txBody>
                    <a:bodyPr/>
                    <a:lstStyle/>
                    <a:p>
                      <a:r>
                        <a:rPr lang="en-US" altLang="zh-CN" sz="1200">
                          <a:latin typeface="DM Sans" pitchFamily="2" charset="0"/>
                        </a:rPr>
                        <a:t>Unified datetime format as yyyy/m/d hh:mm:ss </a:t>
                      </a:r>
                      <a:endParaRPr lang="zh-CN" altLang="en-US" sz="1200">
                        <a:latin typeface="DM Sans" pitchFamily="2" charset="0"/>
                      </a:endParaRPr>
                    </a:p>
                  </a:txBody>
                  <a:tcPr anchor="ctr">
                    <a:solidFill>
                      <a:srgbClr val="EEEBE7"/>
                    </a:solidFill>
                  </a:tcPr>
                </a:tc>
                <a:tc>
                  <a:txBody>
                    <a:bodyPr/>
                    <a:lstStyle/>
                    <a:p>
                      <a:endParaRPr lang="zh-CN" altLang="en-US" sz="1200">
                        <a:latin typeface="DM Sans" pitchFamily="2" charset="0"/>
                      </a:endParaRPr>
                    </a:p>
                  </a:txBody>
                  <a:tcPr anchor="ctr">
                    <a:solidFill>
                      <a:srgbClr val="EEEBE7"/>
                    </a:solidFill>
                  </a:tcPr>
                </a:tc>
                <a:extLst>
                  <a:ext uri="{0D108BD9-81ED-4DB2-BD59-A6C34878D82A}">
                    <a16:rowId xmlns:a16="http://schemas.microsoft.com/office/drawing/2014/main" val="3212187660"/>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ltLang="zh-CN" sz="1200">
                          <a:latin typeface="DM Sans" pitchFamily="2" charset="0"/>
                        </a:rPr>
                        <a:t>Recoded all missing datetime values as ‘1900/1/1 00:00:00’</a:t>
                      </a:r>
                      <a:endParaRPr lang="zh-CN" altLang="en-US" sz="1200">
                        <a:latin typeface="DM Sans" pitchFamily="2" charset="0"/>
                      </a:endParaRPr>
                    </a:p>
                  </a:txBody>
                  <a:tcPr anchor="ctr">
                    <a:solidFill>
                      <a:srgbClr val="EEEBE7"/>
                    </a:solidFill>
                  </a:tcPr>
                </a:tc>
                <a:tc>
                  <a:txBody>
                    <a:bodyPr/>
                    <a:lstStyle/>
                    <a:p>
                      <a:endParaRPr lang="zh-CN" altLang="en-US" sz="1200">
                        <a:latin typeface="DM Sans" pitchFamily="2" charset="0"/>
                      </a:endParaRPr>
                    </a:p>
                  </a:txBody>
                  <a:tcPr anchor="ctr">
                    <a:solidFill>
                      <a:srgbClr val="EEEBE7"/>
                    </a:solidFill>
                  </a:tcPr>
                </a:tc>
                <a:extLst>
                  <a:ext uri="{0D108BD9-81ED-4DB2-BD59-A6C34878D82A}">
                    <a16:rowId xmlns:a16="http://schemas.microsoft.com/office/drawing/2014/main" val="1211383704"/>
                  </a:ext>
                </a:extLst>
              </a:tr>
            </a:tbl>
          </a:graphicData>
        </a:graphic>
      </p:graphicFrame>
      <p:sp>
        <p:nvSpPr>
          <p:cNvPr id="10" name="文本框 9">
            <a:extLst>
              <a:ext uri="{FF2B5EF4-FFF2-40B4-BE49-F238E27FC236}">
                <a16:creationId xmlns:a16="http://schemas.microsoft.com/office/drawing/2014/main" id="{2E64ABFB-E9BD-46B2-5E31-EFE8D663E3BB}"/>
              </a:ext>
            </a:extLst>
          </p:cNvPr>
          <p:cNvSpPr txBox="1"/>
          <p:nvPr/>
        </p:nvSpPr>
        <p:spPr>
          <a:xfrm>
            <a:off x="4992062" y="1162388"/>
            <a:ext cx="2785200" cy="307777"/>
          </a:xfrm>
          <a:prstGeom prst="rect">
            <a:avLst/>
          </a:prstGeom>
          <a:noFill/>
        </p:spPr>
        <p:txBody>
          <a:bodyPr wrap="square" rtlCol="0">
            <a:spAutoFit/>
          </a:bodyPr>
          <a:lstStyle/>
          <a:p>
            <a:pPr algn="ctr"/>
            <a:r>
              <a:rPr lang="en-US" altLang="zh-CN" b="1">
                <a:solidFill>
                  <a:schemeClr val="bg1"/>
                </a:solidFill>
                <a:latin typeface="DM Sans" pitchFamily="2" charset="0"/>
              </a:rPr>
              <a:t>Cleaning &amp; Transformation</a:t>
            </a:r>
            <a:endParaRPr lang="zh-CN" altLang="en-US" sz="1200">
              <a:solidFill>
                <a:schemeClr val="bg1"/>
              </a:solidFill>
              <a:latin typeface="DM Sans" pitchFamily="2" charset="0"/>
            </a:endParaRPr>
          </a:p>
        </p:txBody>
      </p:sp>
      <p:sp>
        <p:nvSpPr>
          <p:cNvPr id="12" name="文本框 11">
            <a:extLst>
              <a:ext uri="{FF2B5EF4-FFF2-40B4-BE49-F238E27FC236}">
                <a16:creationId xmlns:a16="http://schemas.microsoft.com/office/drawing/2014/main" id="{B307C6F2-6323-9E16-4BA8-7D15061E5965}"/>
              </a:ext>
            </a:extLst>
          </p:cNvPr>
          <p:cNvSpPr txBox="1"/>
          <p:nvPr/>
        </p:nvSpPr>
        <p:spPr>
          <a:xfrm>
            <a:off x="792980" y="3938864"/>
            <a:ext cx="2356093" cy="523220"/>
          </a:xfrm>
          <a:prstGeom prst="rect">
            <a:avLst/>
          </a:prstGeom>
          <a:noFill/>
        </p:spPr>
        <p:txBody>
          <a:bodyPr wrap="square" rtlCol="0">
            <a:spAutoFit/>
          </a:bodyPr>
          <a:lstStyle/>
          <a:p>
            <a:pPr algn="ctr"/>
            <a:r>
              <a:rPr lang="en-US" altLang="zh-CN" b="1">
                <a:solidFill>
                  <a:schemeClr val="bg1"/>
                </a:solidFill>
                <a:latin typeface="DM Sans" pitchFamily="2" charset="0"/>
              </a:rPr>
              <a:t>Cleaned</a:t>
            </a:r>
          </a:p>
          <a:p>
            <a:pPr algn="ctr"/>
            <a:r>
              <a:rPr lang="en-US" altLang="zh-CN" b="1">
                <a:solidFill>
                  <a:schemeClr val="bg1"/>
                </a:solidFill>
                <a:latin typeface="DM Sans" pitchFamily="2" charset="0"/>
              </a:rPr>
              <a:t>Data</a:t>
            </a:r>
            <a:endParaRPr lang="zh-CN" altLang="en-US" b="1">
              <a:solidFill>
                <a:schemeClr val="bg1"/>
              </a:solidFill>
              <a:latin typeface="DM Sans" pitchFamily="2" charset="0"/>
            </a:endParaRPr>
          </a:p>
        </p:txBody>
      </p:sp>
      <p:sp>
        <p:nvSpPr>
          <p:cNvPr id="14" name="文本框 13">
            <a:extLst>
              <a:ext uri="{FF2B5EF4-FFF2-40B4-BE49-F238E27FC236}">
                <a16:creationId xmlns:a16="http://schemas.microsoft.com/office/drawing/2014/main" id="{10170077-D76A-82E7-95EE-2231ED11924A}"/>
              </a:ext>
            </a:extLst>
          </p:cNvPr>
          <p:cNvSpPr txBox="1"/>
          <p:nvPr/>
        </p:nvSpPr>
        <p:spPr>
          <a:xfrm>
            <a:off x="798946" y="2341211"/>
            <a:ext cx="2356093" cy="523220"/>
          </a:xfrm>
          <a:prstGeom prst="rect">
            <a:avLst/>
          </a:prstGeom>
          <a:noFill/>
        </p:spPr>
        <p:txBody>
          <a:bodyPr wrap="square" rtlCol="0">
            <a:spAutoFit/>
          </a:bodyPr>
          <a:lstStyle/>
          <a:p>
            <a:pPr algn="ctr"/>
            <a:r>
              <a:rPr lang="en-US" altLang="zh-CN" b="1">
                <a:latin typeface="DM Sans" pitchFamily="2" charset="0"/>
              </a:rPr>
              <a:t>Treated Abnormal &amp; Missing Values</a:t>
            </a:r>
            <a:endParaRPr lang="zh-CN" altLang="en-US" b="1">
              <a:latin typeface="DM Sans" pitchFamily="2" charset="0"/>
            </a:endParaRPr>
          </a:p>
        </p:txBody>
      </p:sp>
      <p:sp>
        <p:nvSpPr>
          <p:cNvPr id="15" name="文本框 14">
            <a:extLst>
              <a:ext uri="{FF2B5EF4-FFF2-40B4-BE49-F238E27FC236}">
                <a16:creationId xmlns:a16="http://schemas.microsoft.com/office/drawing/2014/main" id="{1A319679-BBDF-5DAC-5C21-22B8D4D02B01}"/>
              </a:ext>
            </a:extLst>
          </p:cNvPr>
          <p:cNvSpPr txBox="1"/>
          <p:nvPr/>
        </p:nvSpPr>
        <p:spPr>
          <a:xfrm>
            <a:off x="792979" y="3072386"/>
            <a:ext cx="2356093" cy="523220"/>
          </a:xfrm>
          <a:prstGeom prst="rect">
            <a:avLst/>
          </a:prstGeom>
          <a:noFill/>
        </p:spPr>
        <p:txBody>
          <a:bodyPr wrap="square" rtlCol="0">
            <a:spAutoFit/>
          </a:bodyPr>
          <a:lstStyle/>
          <a:p>
            <a:pPr algn="ctr"/>
            <a:r>
              <a:rPr lang="en-US" altLang="zh-CN" b="1">
                <a:solidFill>
                  <a:schemeClr val="bg1"/>
                </a:solidFill>
                <a:latin typeface="DM Sans" pitchFamily="2" charset="0"/>
              </a:rPr>
              <a:t>Recoded</a:t>
            </a:r>
          </a:p>
          <a:p>
            <a:pPr algn="ctr"/>
            <a:r>
              <a:rPr lang="en-US" altLang="zh-CN" b="1">
                <a:solidFill>
                  <a:schemeClr val="bg1"/>
                </a:solidFill>
                <a:latin typeface="DM Sans" pitchFamily="2" charset="0"/>
              </a:rPr>
              <a:t>the Data</a:t>
            </a:r>
            <a:endParaRPr lang="zh-CN" altLang="en-US" b="1">
              <a:solidFill>
                <a:schemeClr val="bg1"/>
              </a:solidFill>
              <a:latin typeface="DM Sans" pitchFamily="2" charset="0"/>
            </a:endParaRPr>
          </a:p>
        </p:txBody>
      </p:sp>
      <p:sp>
        <p:nvSpPr>
          <p:cNvPr id="8" name="文本框 7">
            <a:extLst>
              <a:ext uri="{FF2B5EF4-FFF2-40B4-BE49-F238E27FC236}">
                <a16:creationId xmlns:a16="http://schemas.microsoft.com/office/drawing/2014/main" id="{A642BE6C-34A5-0794-175A-E2BC8391259E}"/>
              </a:ext>
            </a:extLst>
          </p:cNvPr>
          <p:cNvSpPr txBox="1"/>
          <p:nvPr/>
        </p:nvSpPr>
        <p:spPr>
          <a:xfrm>
            <a:off x="8337787" y="4811041"/>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2</a:t>
            </a:r>
          </a:p>
        </p:txBody>
      </p:sp>
    </p:spTree>
    <p:extLst>
      <p:ext uri="{BB962C8B-B14F-4D97-AF65-F5344CB8AC3E}">
        <p14:creationId xmlns:p14="http://schemas.microsoft.com/office/powerpoint/2010/main" val="3208453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F475A40-540F-FAEC-E3C2-F82DEA71A170}"/>
              </a:ext>
            </a:extLst>
          </p:cNvPr>
          <p:cNvGraphicFramePr>
            <a:graphicFrameLocks noChangeAspect="1"/>
          </p:cNvGraphicFramePr>
          <p:nvPr>
            <p:custDataLst>
              <p:tags r:id="rId1"/>
            </p:custDataLst>
            <p:extLst>
              <p:ext uri="{D42A27DB-BD31-4B8C-83A1-F6EECF244321}">
                <p14:modId xmlns:p14="http://schemas.microsoft.com/office/powerpoint/2010/main" val="113140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7F475A40-540F-FAEC-E3C2-F82DEA71A1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7" name="Google Shape;547;p54"/>
          <p:cNvSpPr txBox="1">
            <a:spLocks noGrp="1"/>
          </p:cNvSpPr>
          <p:nvPr>
            <p:ph type="title"/>
          </p:nvPr>
        </p:nvSpPr>
        <p:spPr>
          <a:xfrm>
            <a:off x="2351700" y="2658750"/>
            <a:ext cx="4440600" cy="1457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3600"/>
              <a:t>Data Modeling</a:t>
            </a:r>
            <a:br>
              <a:rPr lang="en-US" altLang="zh-CN" sz="3600"/>
            </a:br>
            <a:r>
              <a:rPr lang="en-US" altLang="zh-CN" sz="3600"/>
              <a:t> &amp; Design</a:t>
            </a:r>
            <a:endParaRPr sz="3600"/>
          </a:p>
        </p:txBody>
      </p:sp>
      <p:pic>
        <p:nvPicPr>
          <p:cNvPr id="549" name="Google Shape;549;p54"/>
          <p:cNvPicPr preferRelativeResize="0"/>
          <p:nvPr/>
        </p:nvPicPr>
        <p:blipFill rotWithShape="1">
          <a:blip r:embed="rId6">
            <a:alphaModFix/>
          </a:blip>
          <a:srcRect l="14463" r="11176"/>
          <a:stretch/>
        </p:blipFill>
        <p:spPr>
          <a:xfrm>
            <a:off x="0" y="372750"/>
            <a:ext cx="2513250" cy="2560199"/>
          </a:xfrm>
          <a:prstGeom prst="rect">
            <a:avLst/>
          </a:prstGeom>
          <a:noFill/>
          <a:ln>
            <a:noFill/>
          </a:ln>
        </p:spPr>
      </p:pic>
      <p:pic>
        <p:nvPicPr>
          <p:cNvPr id="550" name="Google Shape;550;p54"/>
          <p:cNvPicPr preferRelativeResize="0"/>
          <p:nvPr/>
        </p:nvPicPr>
        <p:blipFill rotWithShape="1">
          <a:blip r:embed="rId7">
            <a:alphaModFix/>
          </a:blip>
          <a:srcRect l="10196" r="11249"/>
          <a:stretch/>
        </p:blipFill>
        <p:spPr>
          <a:xfrm>
            <a:off x="6316400" y="372750"/>
            <a:ext cx="2827601" cy="2560201"/>
          </a:xfrm>
          <a:prstGeom prst="rect">
            <a:avLst/>
          </a:prstGeom>
          <a:noFill/>
          <a:ln>
            <a:noFill/>
          </a:ln>
        </p:spPr>
      </p:pic>
      <p:sp>
        <p:nvSpPr>
          <p:cNvPr id="551" name="Google Shape;551;p54"/>
          <p:cNvSpPr txBox="1">
            <a:spLocks noGrp="1"/>
          </p:cNvSpPr>
          <p:nvPr>
            <p:ph type="title" idx="2"/>
          </p:nvPr>
        </p:nvSpPr>
        <p:spPr>
          <a:xfrm>
            <a:off x="3945600" y="1027350"/>
            <a:ext cx="1252800" cy="1251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3</a:t>
            </a:r>
            <a:endParaRPr/>
          </a:p>
        </p:txBody>
      </p:sp>
      <p:sp>
        <p:nvSpPr>
          <p:cNvPr id="4" name="文本框 3">
            <a:extLst>
              <a:ext uri="{FF2B5EF4-FFF2-40B4-BE49-F238E27FC236}">
                <a16:creationId xmlns:a16="http://schemas.microsoft.com/office/drawing/2014/main" id="{6B6116EA-1C0E-5B6F-11A8-0DD406E5384F}"/>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3</a:t>
            </a:r>
          </a:p>
        </p:txBody>
      </p:sp>
    </p:spTree>
    <p:extLst>
      <p:ext uri="{BB962C8B-B14F-4D97-AF65-F5344CB8AC3E}">
        <p14:creationId xmlns:p14="http://schemas.microsoft.com/office/powerpoint/2010/main" val="1617173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64" name="Google Shape;264;p45"/>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t>Database</a:t>
            </a:r>
            <a:r>
              <a:rPr lang="zh-CN" altLang="en-US"/>
              <a:t> </a:t>
            </a:r>
            <a:r>
              <a:rPr lang="en-US" altLang="zh-CN"/>
              <a:t>Design</a:t>
            </a:r>
            <a:r>
              <a:rPr lang="zh-CN" altLang="en-US"/>
              <a:t> </a:t>
            </a:r>
            <a:r>
              <a:rPr lang="en-US" altLang="zh-CN"/>
              <a:t>Consideration</a:t>
            </a:r>
            <a:endParaRPr lang="zh-CN"/>
          </a:p>
        </p:txBody>
      </p:sp>
      <p:sp>
        <p:nvSpPr>
          <p:cNvPr id="2" name="文本框 1">
            <a:extLst>
              <a:ext uri="{FF2B5EF4-FFF2-40B4-BE49-F238E27FC236}">
                <a16:creationId xmlns:a16="http://schemas.microsoft.com/office/drawing/2014/main" id="{030E51D6-D271-FD3C-C39E-8E16A28671E0}"/>
              </a:ext>
            </a:extLst>
          </p:cNvPr>
          <p:cNvSpPr txBox="1"/>
          <p:nvPr/>
        </p:nvSpPr>
        <p:spPr>
          <a:xfrm>
            <a:off x="693420" y="1112100"/>
            <a:ext cx="8282940" cy="3631763"/>
          </a:xfrm>
          <a:prstGeom prst="rect">
            <a:avLst/>
          </a:prstGeom>
          <a:noFill/>
        </p:spPr>
        <p:txBody>
          <a:bodyPr wrap="square" rtlCol="0">
            <a:spAutoFit/>
          </a:bodyPr>
          <a:lstStyle/>
          <a:p>
            <a:r>
              <a:rPr lang="en-US" altLang="zh-CN" sz="1500" b="1" u="sng">
                <a:solidFill>
                  <a:schemeClr val="bg1"/>
                </a:solidFill>
                <a:latin typeface="DM Sans" pitchFamily="2" charset="0"/>
              </a:rPr>
              <a:t>Database Modeling</a:t>
            </a:r>
          </a:p>
          <a:p>
            <a:pPr marL="285750" indent="-285750">
              <a:buClr>
                <a:schemeClr val="bg1"/>
              </a:buClr>
              <a:buFont typeface="Arial" panose="020B0604020202020204" pitchFamily="34" charset="0"/>
              <a:buChar char="•"/>
            </a:pPr>
            <a:r>
              <a:rPr lang="en-US" altLang="zh-CN">
                <a:solidFill>
                  <a:schemeClr val="bg1"/>
                </a:solidFill>
                <a:latin typeface="DM Sans" pitchFamily="2" charset="0"/>
              </a:rPr>
              <a:t>OLTP: Normalized physical entity-relationship model</a:t>
            </a:r>
          </a:p>
          <a:p>
            <a:pPr marL="285750" indent="-285750">
              <a:spcAft>
                <a:spcPts val="1200"/>
              </a:spcAft>
              <a:buClr>
                <a:schemeClr val="bg1"/>
              </a:buClr>
              <a:buFont typeface="Arial" panose="020B0604020202020204" pitchFamily="34" charset="0"/>
              <a:buChar char="•"/>
            </a:pPr>
            <a:r>
              <a:rPr lang="en-US" altLang="zh-CN">
                <a:solidFill>
                  <a:schemeClr val="bg1"/>
                </a:solidFill>
                <a:latin typeface="DM Sans" pitchFamily="2" charset="0"/>
              </a:rPr>
              <a:t>OLAP: Multi-dimensional snowflake model</a:t>
            </a:r>
          </a:p>
          <a:p>
            <a:r>
              <a:rPr lang="en-US" altLang="zh-CN" sz="1500" b="1" u="sng">
                <a:solidFill>
                  <a:schemeClr val="bg1"/>
                </a:solidFill>
                <a:latin typeface="DM Sans" pitchFamily="2" charset="0"/>
              </a:rPr>
              <a:t>Data Types</a:t>
            </a:r>
          </a:p>
          <a:p>
            <a:pPr marL="285750" indent="-285750">
              <a:buClr>
                <a:schemeClr val="bg1"/>
              </a:buClr>
              <a:buFont typeface="Arial" panose="020B0604020202020204" pitchFamily="34" charset="0"/>
              <a:buChar char="•"/>
            </a:pPr>
            <a:r>
              <a:rPr lang="en-US" altLang="zh-CN">
                <a:solidFill>
                  <a:schemeClr val="bg1"/>
                </a:solidFill>
                <a:latin typeface="DM Sans" pitchFamily="2" charset="0"/>
              </a:rPr>
              <a:t>Choose </a:t>
            </a:r>
            <a:r>
              <a:rPr lang="en-US" altLang="zh-CN" i="1">
                <a:solidFill>
                  <a:schemeClr val="bg1"/>
                </a:solidFill>
                <a:latin typeface="DM Sans" pitchFamily="2" charset="0"/>
              </a:rPr>
              <a:t>VARCHAR</a:t>
            </a:r>
            <a:r>
              <a:rPr lang="en-US" altLang="zh-CN">
                <a:solidFill>
                  <a:schemeClr val="bg1"/>
                </a:solidFill>
                <a:latin typeface="DM Sans" pitchFamily="2" charset="0"/>
              </a:rPr>
              <a:t> datatypes for primary keys and other string attributes</a:t>
            </a:r>
          </a:p>
          <a:p>
            <a:pPr marL="285750" indent="-285750">
              <a:buClr>
                <a:schemeClr val="bg1"/>
              </a:buClr>
              <a:buFont typeface="Arial" panose="020B0604020202020204" pitchFamily="34" charset="0"/>
              <a:buChar char="•"/>
            </a:pPr>
            <a:r>
              <a:rPr lang="en-US" altLang="zh-CN">
                <a:solidFill>
                  <a:schemeClr val="bg1"/>
                </a:solidFill>
                <a:latin typeface="DM Sans" pitchFamily="2" charset="0"/>
              </a:rPr>
              <a:t>Define Date attributes with datatypes </a:t>
            </a:r>
            <a:r>
              <a:rPr lang="en-US" altLang="zh-CN" i="1">
                <a:solidFill>
                  <a:schemeClr val="bg1"/>
                </a:solidFill>
                <a:latin typeface="DM Sans" pitchFamily="2" charset="0"/>
              </a:rPr>
              <a:t>DATETIME</a:t>
            </a:r>
            <a:r>
              <a:rPr lang="en-US" altLang="zh-CN">
                <a:solidFill>
                  <a:schemeClr val="bg1"/>
                </a:solidFill>
                <a:latin typeface="DM Sans" pitchFamily="2" charset="0"/>
              </a:rPr>
              <a:t> or </a:t>
            </a:r>
            <a:r>
              <a:rPr lang="en-US" altLang="zh-CN" i="1">
                <a:solidFill>
                  <a:schemeClr val="bg1"/>
                </a:solidFill>
                <a:latin typeface="DM Sans" pitchFamily="2" charset="0"/>
              </a:rPr>
              <a:t>TIMESTAMP</a:t>
            </a:r>
          </a:p>
          <a:p>
            <a:pPr marL="285750" indent="-285750">
              <a:spcAft>
                <a:spcPts val="1200"/>
              </a:spcAft>
              <a:buClr>
                <a:schemeClr val="bg1"/>
              </a:buClr>
              <a:buFont typeface="Arial" panose="020B0604020202020204" pitchFamily="34" charset="0"/>
              <a:buChar char="•"/>
            </a:pPr>
            <a:r>
              <a:rPr lang="en-US" altLang="zh-CN">
                <a:solidFill>
                  <a:schemeClr val="bg1"/>
                </a:solidFill>
                <a:latin typeface="DM Sans" pitchFamily="2" charset="0"/>
              </a:rPr>
              <a:t>Follow standard naming convention for attributes</a:t>
            </a:r>
          </a:p>
          <a:p>
            <a:r>
              <a:rPr lang="en-US" altLang="zh-CN" sz="1500" b="1" u="sng">
                <a:solidFill>
                  <a:schemeClr val="bg1"/>
                </a:solidFill>
                <a:latin typeface="DM Sans" pitchFamily="2" charset="0"/>
              </a:rPr>
              <a:t>Granularity of Data</a:t>
            </a:r>
          </a:p>
          <a:p>
            <a:pPr marL="285750" indent="-285750">
              <a:spcAft>
                <a:spcPts val="1200"/>
              </a:spcAft>
              <a:buClr>
                <a:schemeClr val="bg1"/>
              </a:buClr>
              <a:buFont typeface="Arial" panose="020B0604020202020204" pitchFamily="34" charset="0"/>
              <a:buChar char="•"/>
            </a:pPr>
            <a:r>
              <a:rPr lang="en-US" altLang="zh-CN">
                <a:solidFill>
                  <a:schemeClr val="bg1"/>
                </a:solidFill>
                <a:latin typeface="DM Sans" pitchFamily="2" charset="0"/>
              </a:rPr>
              <a:t>E-commerce data is atomic in nature and can be stored in a fact table and rolled up by month/quarter</a:t>
            </a:r>
          </a:p>
          <a:p>
            <a:r>
              <a:rPr lang="en-US" altLang="zh-CN" sz="1500" b="1" u="sng">
                <a:solidFill>
                  <a:schemeClr val="bg1"/>
                </a:solidFill>
                <a:latin typeface="DM Sans" pitchFamily="2" charset="0"/>
              </a:rPr>
              <a:t>Data Integrity</a:t>
            </a:r>
          </a:p>
          <a:p>
            <a:pPr marL="285750" indent="-285750">
              <a:buClr>
                <a:schemeClr val="bg1"/>
              </a:buClr>
              <a:buFont typeface="Arial" panose="020B0604020202020204" pitchFamily="34" charset="0"/>
              <a:buChar char="•"/>
            </a:pPr>
            <a:r>
              <a:rPr lang="en-US" altLang="zh-CN">
                <a:solidFill>
                  <a:schemeClr val="bg1"/>
                </a:solidFill>
                <a:latin typeface="DM Sans" pitchFamily="2" charset="0"/>
              </a:rPr>
              <a:t>Establish a unique primary key for each entity/table</a:t>
            </a:r>
          </a:p>
          <a:p>
            <a:pPr marL="285750" indent="-285750">
              <a:buClr>
                <a:schemeClr val="bg1"/>
              </a:buClr>
              <a:buFont typeface="Arial" panose="020B0604020202020204" pitchFamily="34" charset="0"/>
              <a:buChar char="•"/>
            </a:pPr>
            <a:r>
              <a:rPr lang="en-US" altLang="zh-CN">
                <a:solidFill>
                  <a:schemeClr val="bg1"/>
                </a:solidFill>
                <a:latin typeface="DM Sans" pitchFamily="2" charset="0"/>
              </a:rPr>
              <a:t>Set foreign key relationships and constraints (not null, unique)</a:t>
            </a:r>
          </a:p>
          <a:p>
            <a:pPr marL="285750" indent="-285750">
              <a:buClr>
                <a:schemeClr val="bg1"/>
              </a:buClr>
              <a:buFont typeface="Arial" panose="020B0604020202020204" pitchFamily="34" charset="0"/>
              <a:buChar char="•"/>
            </a:pPr>
            <a:r>
              <a:rPr lang="en-US" altLang="zh-CN">
                <a:solidFill>
                  <a:schemeClr val="bg1"/>
                </a:solidFill>
                <a:latin typeface="DM Sans" pitchFamily="2" charset="0"/>
              </a:rPr>
              <a:t>Define default values for missing values wherever applicable (e.g. -1 for </a:t>
            </a:r>
            <a:r>
              <a:rPr lang="en-US" altLang="zh-CN" i="1">
                <a:solidFill>
                  <a:schemeClr val="bg1"/>
                </a:solidFill>
                <a:latin typeface="DM Sans" pitchFamily="2" charset="0"/>
              </a:rPr>
              <a:t>INT</a:t>
            </a:r>
            <a:r>
              <a:rPr lang="en-US" altLang="zh-CN">
                <a:solidFill>
                  <a:schemeClr val="bg1"/>
                </a:solidFill>
                <a:latin typeface="DM Sans" pitchFamily="2" charset="0"/>
              </a:rPr>
              <a:t>, None for </a:t>
            </a:r>
            <a:r>
              <a:rPr lang="en-US" altLang="zh-CN" i="1">
                <a:solidFill>
                  <a:schemeClr val="bg1"/>
                </a:solidFill>
                <a:latin typeface="DM Sans" pitchFamily="2" charset="0"/>
              </a:rPr>
              <a:t>VARCHAR</a:t>
            </a:r>
            <a:r>
              <a:rPr lang="en-US" altLang="zh-CN">
                <a:solidFill>
                  <a:schemeClr val="bg1"/>
                </a:solidFill>
                <a:latin typeface="DM Sans" pitchFamily="2" charset="0"/>
              </a:rPr>
              <a:t>)</a:t>
            </a:r>
          </a:p>
        </p:txBody>
      </p:sp>
      <p:pic>
        <p:nvPicPr>
          <p:cNvPr id="8" name="图形 7" descr="文件夹搜索 纯色填充">
            <a:extLst>
              <a:ext uri="{FF2B5EF4-FFF2-40B4-BE49-F238E27FC236}">
                <a16:creationId xmlns:a16="http://schemas.microsoft.com/office/drawing/2014/main" id="{53EC0D38-4F81-5A2C-EC63-8F5552843F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5860" y="3665213"/>
            <a:ext cx="468000" cy="468000"/>
          </a:xfrm>
          <a:prstGeom prst="rect">
            <a:avLst/>
          </a:prstGeom>
        </p:spPr>
      </p:pic>
      <p:pic>
        <p:nvPicPr>
          <p:cNvPr id="11" name="图形 10" descr="统计数据 纯色填充">
            <a:extLst>
              <a:ext uri="{FF2B5EF4-FFF2-40B4-BE49-F238E27FC236}">
                <a16:creationId xmlns:a16="http://schemas.microsoft.com/office/drawing/2014/main" id="{84D6B481-8BFB-A75E-7786-F6E72BEA1D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5860" y="1844519"/>
            <a:ext cx="468000" cy="468000"/>
          </a:xfrm>
          <a:prstGeom prst="rect">
            <a:avLst/>
          </a:prstGeom>
        </p:spPr>
      </p:pic>
      <p:pic>
        <p:nvPicPr>
          <p:cNvPr id="13" name="图形 12" descr="数据库 纯色填充">
            <a:extLst>
              <a:ext uri="{FF2B5EF4-FFF2-40B4-BE49-F238E27FC236}">
                <a16:creationId xmlns:a16="http://schemas.microsoft.com/office/drawing/2014/main" id="{939AE9E1-6132-1989-C36E-73E1483965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5860" y="1035330"/>
            <a:ext cx="468000" cy="468000"/>
          </a:xfrm>
          <a:prstGeom prst="rect">
            <a:avLst/>
          </a:prstGeom>
        </p:spPr>
      </p:pic>
      <p:pic>
        <p:nvPicPr>
          <p:cNvPr id="15" name="图形 14" descr="文档 纯色填充">
            <a:extLst>
              <a:ext uri="{FF2B5EF4-FFF2-40B4-BE49-F238E27FC236}">
                <a16:creationId xmlns:a16="http://schemas.microsoft.com/office/drawing/2014/main" id="{93284AD4-FE8C-A177-E46C-7EEF39943E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860" y="2858513"/>
            <a:ext cx="468000" cy="468000"/>
          </a:xfrm>
          <a:prstGeom prst="rect">
            <a:avLst/>
          </a:prstGeom>
        </p:spPr>
      </p:pic>
      <p:sp>
        <p:nvSpPr>
          <p:cNvPr id="4" name="文本框 3">
            <a:extLst>
              <a:ext uri="{FF2B5EF4-FFF2-40B4-BE49-F238E27FC236}">
                <a16:creationId xmlns:a16="http://schemas.microsoft.com/office/drawing/2014/main" id="{48772592-E273-0E31-5029-819C6D577486}"/>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4</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253E3FC-0C09-A590-6581-0240B8DC1D44}"/>
              </a:ext>
            </a:extLst>
          </p:cNvPr>
          <p:cNvGraphicFramePr>
            <a:graphicFrameLocks noChangeAspect="1"/>
          </p:cNvGraphicFramePr>
          <p:nvPr>
            <p:custDataLst>
              <p:tags r:id="rId1"/>
            </p:custDataLst>
            <p:extLst>
              <p:ext uri="{D42A27DB-BD31-4B8C-83A1-F6EECF244321}">
                <p14:modId xmlns:p14="http://schemas.microsoft.com/office/powerpoint/2010/main" val="390179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5" imgH="424" progId="TCLayout.ActiveDocument.1">
                  <p:embed/>
                </p:oleObj>
              </mc:Choice>
              <mc:Fallback>
                <p:oleObj name="think-cell 幻灯片" r:id="rId3" imgW="425" imgH="424" progId="TCLayout.ActiveDocument.1">
                  <p:embed/>
                  <p:pic>
                    <p:nvPicPr>
                      <p:cNvPr id="4" name="think-cell data - do not delete" hidden="1">
                        <a:extLst>
                          <a:ext uri="{FF2B5EF4-FFF2-40B4-BE49-F238E27FC236}">
                            <a16:creationId xmlns:a16="http://schemas.microsoft.com/office/drawing/2014/main" id="{C253E3FC-0C09-A590-6581-0240B8DC1D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图片 3" descr="图形用户界面&#10;&#10;已自动生成说明">
            <a:extLst>
              <a:ext uri="{FF2B5EF4-FFF2-40B4-BE49-F238E27FC236}">
                <a16:creationId xmlns:a16="http://schemas.microsoft.com/office/drawing/2014/main" id="{0A5B7CC0-04D3-4634-DD68-3F0D978560AE}"/>
              </a:ext>
            </a:extLst>
          </p:cNvPr>
          <p:cNvPicPr>
            <a:picLocks noChangeAspect="1"/>
          </p:cNvPicPr>
          <p:nvPr/>
        </p:nvPicPr>
        <p:blipFill>
          <a:blip r:embed="rId5"/>
          <a:stretch>
            <a:fillRect/>
          </a:stretch>
        </p:blipFill>
        <p:spPr>
          <a:xfrm>
            <a:off x="2316480" y="296261"/>
            <a:ext cx="6438900" cy="4550977"/>
          </a:xfrm>
          <a:prstGeom prst="rect">
            <a:avLst/>
          </a:prstGeom>
        </p:spPr>
      </p:pic>
      <p:sp>
        <p:nvSpPr>
          <p:cNvPr id="16" name="标题 15">
            <a:extLst>
              <a:ext uri="{FF2B5EF4-FFF2-40B4-BE49-F238E27FC236}">
                <a16:creationId xmlns:a16="http://schemas.microsoft.com/office/drawing/2014/main" id="{A18874A8-D293-2A9A-57B1-2D16DFA83146}"/>
              </a:ext>
            </a:extLst>
          </p:cNvPr>
          <p:cNvSpPr>
            <a:spLocks noGrp="1"/>
          </p:cNvSpPr>
          <p:nvPr>
            <p:ph type="title"/>
          </p:nvPr>
        </p:nvSpPr>
        <p:spPr>
          <a:xfrm>
            <a:off x="133260" y="1575720"/>
            <a:ext cx="2023200" cy="1281780"/>
          </a:xfrm>
        </p:spPr>
        <p:txBody>
          <a:bodyPr vert="horz"/>
          <a:lstStyle/>
          <a:p>
            <a:pPr algn="ctr"/>
            <a:r>
              <a:rPr lang="en-US" altLang="zh-CN"/>
              <a:t>EER Diagram</a:t>
            </a:r>
            <a:endParaRPr lang="zh-CN" altLang="en-US"/>
          </a:p>
        </p:txBody>
      </p:sp>
      <p:sp>
        <p:nvSpPr>
          <p:cNvPr id="3" name="文本框 2">
            <a:extLst>
              <a:ext uri="{FF2B5EF4-FFF2-40B4-BE49-F238E27FC236}">
                <a16:creationId xmlns:a16="http://schemas.microsoft.com/office/drawing/2014/main" id="{40AE0277-C72B-A5BC-1424-14B860DF58F9}"/>
              </a:ext>
            </a:extLst>
          </p:cNvPr>
          <p:cNvSpPr txBox="1"/>
          <p:nvPr/>
        </p:nvSpPr>
        <p:spPr>
          <a:xfrm>
            <a:off x="8069676" y="4846319"/>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5</a:t>
            </a:r>
          </a:p>
        </p:txBody>
      </p:sp>
    </p:spTree>
    <p:extLst>
      <p:ext uri="{BB962C8B-B14F-4D97-AF65-F5344CB8AC3E}">
        <p14:creationId xmlns:p14="http://schemas.microsoft.com/office/powerpoint/2010/main" val="2309476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51BFD1-56EF-8121-47EC-1B7534F31287}"/>
              </a:ext>
            </a:extLst>
          </p:cNvPr>
          <p:cNvGraphicFramePr>
            <a:graphicFrameLocks noChangeAspect="1"/>
          </p:cNvGraphicFramePr>
          <p:nvPr>
            <p:custDataLst>
              <p:tags r:id="rId1"/>
            </p:custDataLst>
            <p:extLst>
              <p:ext uri="{D42A27DB-BD31-4B8C-83A1-F6EECF244321}">
                <p14:modId xmlns:p14="http://schemas.microsoft.com/office/powerpoint/2010/main" val="2255093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5" imgH="424" progId="TCLayout.ActiveDocument.1">
                  <p:embed/>
                </p:oleObj>
              </mc:Choice>
              <mc:Fallback>
                <p:oleObj name="think-cell 幻灯片" r:id="rId3" imgW="425" imgH="424" progId="TCLayout.ActiveDocument.1">
                  <p:embed/>
                  <p:pic>
                    <p:nvPicPr>
                      <p:cNvPr id="5" name="think-cell data - do not delete" hidden="1">
                        <a:extLst>
                          <a:ext uri="{FF2B5EF4-FFF2-40B4-BE49-F238E27FC236}">
                            <a16:creationId xmlns:a16="http://schemas.microsoft.com/office/drawing/2014/main" id="{2651BFD1-56EF-8121-47EC-1B7534F31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D21FEE-55BC-A672-E7FA-EC6D037AED66}"/>
              </a:ext>
            </a:extLst>
          </p:cNvPr>
          <p:cNvSpPr>
            <a:spLocks noGrp="1"/>
          </p:cNvSpPr>
          <p:nvPr>
            <p:ph type="title"/>
          </p:nvPr>
        </p:nvSpPr>
        <p:spPr>
          <a:xfrm>
            <a:off x="6951640" y="1961340"/>
            <a:ext cx="2427060" cy="1220820"/>
          </a:xfrm>
        </p:spPr>
        <p:txBody>
          <a:bodyPr vert="horz"/>
          <a:lstStyle/>
          <a:p>
            <a:pPr algn="l"/>
            <a:r>
              <a:rPr lang="en-US" altLang="zh-CN"/>
              <a:t>Snowflake</a:t>
            </a:r>
            <a:br>
              <a:rPr lang="en-US" altLang="zh-CN"/>
            </a:br>
            <a:r>
              <a:rPr lang="en-US" altLang="zh-CN"/>
              <a:t>Schema</a:t>
            </a:r>
            <a:endParaRPr lang="zh-CN" altLang="en-US"/>
          </a:p>
        </p:txBody>
      </p:sp>
      <p:pic>
        <p:nvPicPr>
          <p:cNvPr id="8" name="图片 3" descr="图形用户界面&#10;&#10;已自动生成说明">
            <a:extLst>
              <a:ext uri="{FF2B5EF4-FFF2-40B4-BE49-F238E27FC236}">
                <a16:creationId xmlns:a16="http://schemas.microsoft.com/office/drawing/2014/main" id="{B20572E4-BF3B-4F0B-BDC6-465EE51E8B5F}"/>
              </a:ext>
            </a:extLst>
          </p:cNvPr>
          <p:cNvPicPr>
            <a:picLocks noChangeAspect="1"/>
          </p:cNvPicPr>
          <p:nvPr/>
        </p:nvPicPr>
        <p:blipFill>
          <a:blip r:embed="rId5"/>
          <a:stretch>
            <a:fillRect/>
          </a:stretch>
        </p:blipFill>
        <p:spPr>
          <a:xfrm>
            <a:off x="278040" y="344851"/>
            <a:ext cx="6643120" cy="4453798"/>
          </a:xfrm>
          <a:prstGeom prst="rect">
            <a:avLst/>
          </a:prstGeom>
        </p:spPr>
      </p:pic>
      <p:sp>
        <p:nvSpPr>
          <p:cNvPr id="4" name="文本框 3">
            <a:extLst>
              <a:ext uri="{FF2B5EF4-FFF2-40B4-BE49-F238E27FC236}">
                <a16:creationId xmlns:a16="http://schemas.microsoft.com/office/drawing/2014/main" id="{0E4CD161-7E63-A73D-8B4C-035BE76CCED8}"/>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6</a:t>
            </a:r>
          </a:p>
        </p:txBody>
      </p:sp>
    </p:spTree>
    <p:extLst>
      <p:ext uri="{BB962C8B-B14F-4D97-AF65-F5344CB8AC3E}">
        <p14:creationId xmlns:p14="http://schemas.microsoft.com/office/powerpoint/2010/main" val="26369631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6896AB2-BD39-CECC-53C0-5A65E8C25E5F}"/>
              </a:ext>
            </a:extLst>
          </p:cNvPr>
          <p:cNvGraphicFramePr>
            <a:graphicFrameLocks noChangeAspect="1"/>
          </p:cNvGraphicFramePr>
          <p:nvPr>
            <p:custDataLst>
              <p:tags r:id="rId1"/>
            </p:custDataLst>
            <p:extLst>
              <p:ext uri="{D42A27DB-BD31-4B8C-83A1-F6EECF244321}">
                <p14:modId xmlns:p14="http://schemas.microsoft.com/office/powerpoint/2010/main" val="314205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5" imgH="424" progId="TCLayout.ActiveDocument.1">
                  <p:embed/>
                </p:oleObj>
              </mc:Choice>
              <mc:Fallback>
                <p:oleObj name="think-cell 幻灯片" r:id="rId3" imgW="425" imgH="424" progId="TCLayout.ActiveDocument.1">
                  <p:embed/>
                  <p:pic>
                    <p:nvPicPr>
                      <p:cNvPr id="9" name="think-cell data - do not delete" hidden="1">
                        <a:extLst>
                          <a:ext uri="{FF2B5EF4-FFF2-40B4-BE49-F238E27FC236}">
                            <a16:creationId xmlns:a16="http://schemas.microsoft.com/office/drawing/2014/main" id="{D6896AB2-BD39-CECC-53C0-5A65E8C25E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F2AFEB64-4438-AD6D-D3AD-63B6287BCE54}"/>
              </a:ext>
            </a:extLst>
          </p:cNvPr>
          <p:cNvSpPr>
            <a:spLocks noGrp="1"/>
          </p:cNvSpPr>
          <p:nvPr>
            <p:ph type="title"/>
          </p:nvPr>
        </p:nvSpPr>
        <p:spPr/>
        <p:txBody>
          <a:bodyPr vert="horz"/>
          <a:lstStyle/>
          <a:p>
            <a:r>
              <a:rPr lang="en-US" altLang="zh-CN"/>
              <a:t>Data Quality Dimension</a:t>
            </a:r>
            <a:endParaRPr lang="zh-CN" altLang="en-US"/>
          </a:p>
        </p:txBody>
      </p:sp>
      <p:sp>
        <p:nvSpPr>
          <p:cNvPr id="8" name="文本占位符 7">
            <a:extLst>
              <a:ext uri="{FF2B5EF4-FFF2-40B4-BE49-F238E27FC236}">
                <a16:creationId xmlns:a16="http://schemas.microsoft.com/office/drawing/2014/main" id="{36B8DCB0-6F8C-A2F1-24A4-85186FE990B7}"/>
              </a:ext>
            </a:extLst>
          </p:cNvPr>
          <p:cNvSpPr>
            <a:spLocks noGrp="1"/>
          </p:cNvSpPr>
          <p:nvPr>
            <p:ph type="body" idx="1"/>
          </p:nvPr>
        </p:nvSpPr>
        <p:spPr>
          <a:xfrm>
            <a:off x="720000" y="1215752"/>
            <a:ext cx="7913460" cy="3416400"/>
          </a:xfrm>
        </p:spPr>
        <p:txBody>
          <a:bodyPr/>
          <a:lstStyle/>
          <a:p>
            <a:pPr marL="432000" indent="0">
              <a:spcBef>
                <a:spcPts val="600"/>
              </a:spcBef>
              <a:spcAft>
                <a:spcPts val="1800"/>
              </a:spcAft>
              <a:buNone/>
            </a:pPr>
            <a:r>
              <a:rPr lang="en-US" altLang="zh-CN" sz="1400" b="1">
                <a:latin typeface="DM Sans" pitchFamily="2" charset="0"/>
              </a:rPr>
              <a:t>Completeness</a:t>
            </a:r>
            <a:r>
              <a:rPr lang="en-US" altLang="zh-CN" sz="1400">
                <a:latin typeface="DM Sans" pitchFamily="2" charset="0"/>
              </a:rPr>
              <a:t>: Missing values in all look-up tables are specially treated</a:t>
            </a:r>
          </a:p>
          <a:p>
            <a:pPr marL="432000" indent="0">
              <a:spcAft>
                <a:spcPts val="1800"/>
              </a:spcAft>
              <a:buNone/>
            </a:pPr>
            <a:r>
              <a:rPr lang="en-US" altLang="zh-CN" sz="1400" b="1">
                <a:latin typeface="DM Sans" pitchFamily="2" charset="0"/>
              </a:rPr>
              <a:t>Validity</a:t>
            </a:r>
            <a:r>
              <a:rPr lang="en-US" altLang="zh-CN" sz="1400">
                <a:latin typeface="DM Sans" pitchFamily="2" charset="0"/>
              </a:rPr>
              <a:t>: Data format and types conform to the defined business rules and constraints</a:t>
            </a:r>
          </a:p>
          <a:p>
            <a:pPr marL="432000" indent="0">
              <a:spcAft>
                <a:spcPts val="1800"/>
              </a:spcAft>
              <a:buNone/>
            </a:pPr>
            <a:r>
              <a:rPr lang="en-US" altLang="zh-CN" sz="1400" b="1">
                <a:latin typeface="DM Sans" pitchFamily="2" charset="0"/>
              </a:rPr>
              <a:t>Uniqueness</a:t>
            </a:r>
            <a:r>
              <a:rPr lang="en-US" altLang="zh-CN" sz="1400">
                <a:latin typeface="DM Sans" pitchFamily="2" charset="0"/>
              </a:rPr>
              <a:t>: No duplicates or redundant entries in all tables</a:t>
            </a:r>
          </a:p>
          <a:p>
            <a:pPr marL="432000" indent="0">
              <a:spcAft>
                <a:spcPts val="1800"/>
              </a:spcAft>
              <a:buNone/>
            </a:pPr>
            <a:r>
              <a:rPr lang="en-US" altLang="zh-CN" sz="1400" b="1">
                <a:latin typeface="DM Sans" pitchFamily="2" charset="0"/>
              </a:rPr>
              <a:t>Consistency</a:t>
            </a:r>
            <a:r>
              <a:rPr lang="en-US" altLang="zh-CN" sz="1400">
                <a:latin typeface="DM Sans" pitchFamily="2" charset="0"/>
              </a:rPr>
              <a:t>: Dimensions and data types are consistent across tables and two schemas</a:t>
            </a:r>
          </a:p>
          <a:p>
            <a:pPr marL="432000" indent="0">
              <a:spcAft>
                <a:spcPts val="1800"/>
              </a:spcAft>
              <a:buNone/>
            </a:pPr>
            <a:r>
              <a:rPr lang="en-US" altLang="zh-CN" sz="1400" b="1">
                <a:latin typeface="DM Sans" pitchFamily="2" charset="0"/>
              </a:rPr>
              <a:t>Timeliness</a:t>
            </a:r>
            <a:r>
              <a:rPr lang="en-US" altLang="zh-CN" sz="1400">
                <a:latin typeface="DM Sans" pitchFamily="2" charset="0"/>
              </a:rPr>
              <a:t>: Data represent reality in time as data is from relatively recent period</a:t>
            </a:r>
          </a:p>
          <a:p>
            <a:pPr marL="432000" indent="0">
              <a:buNone/>
            </a:pPr>
            <a:r>
              <a:rPr lang="en-US" altLang="zh-CN" sz="1400" b="1">
                <a:latin typeface="DM Sans" pitchFamily="2" charset="0"/>
              </a:rPr>
              <a:t>Accuracy</a:t>
            </a:r>
            <a:r>
              <a:rPr lang="en-US" altLang="zh-CN" sz="1400">
                <a:latin typeface="DM Sans" pitchFamily="2" charset="0"/>
              </a:rPr>
              <a:t>: Data is aggregated by summing and averaging over locations and dates, and this transformation can represent reality</a:t>
            </a:r>
            <a:endParaRPr lang="zh-CN" altLang="en-US" sz="1400">
              <a:latin typeface="DM Sans" pitchFamily="2" charset="0"/>
            </a:endParaRPr>
          </a:p>
        </p:txBody>
      </p:sp>
      <p:pic>
        <p:nvPicPr>
          <p:cNvPr id="3" name="图形 2" descr="箭头: 轻微弯曲 纯色填充">
            <a:extLst>
              <a:ext uri="{FF2B5EF4-FFF2-40B4-BE49-F238E27FC236}">
                <a16:creationId xmlns:a16="http://schemas.microsoft.com/office/drawing/2014/main" id="{DC03673A-B63B-37F8-DFD3-C91928F78C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000" y="1291567"/>
            <a:ext cx="419100" cy="419100"/>
          </a:xfrm>
          <a:prstGeom prst="rect">
            <a:avLst/>
          </a:prstGeom>
        </p:spPr>
      </p:pic>
      <p:pic>
        <p:nvPicPr>
          <p:cNvPr id="4" name="图形 3" descr="箭头: 轻微弯曲 纯色填充">
            <a:extLst>
              <a:ext uri="{FF2B5EF4-FFF2-40B4-BE49-F238E27FC236}">
                <a16:creationId xmlns:a16="http://schemas.microsoft.com/office/drawing/2014/main" id="{6ECE09C7-8550-759E-0DEA-D407B9AA08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000" y="1734983"/>
            <a:ext cx="419100" cy="419100"/>
          </a:xfrm>
          <a:prstGeom prst="rect">
            <a:avLst/>
          </a:prstGeom>
        </p:spPr>
      </p:pic>
      <p:pic>
        <p:nvPicPr>
          <p:cNvPr id="5" name="图形 4" descr="箭头: 轻微弯曲 纯色填充">
            <a:extLst>
              <a:ext uri="{FF2B5EF4-FFF2-40B4-BE49-F238E27FC236}">
                <a16:creationId xmlns:a16="http://schemas.microsoft.com/office/drawing/2014/main" id="{5625C738-9B9C-D499-9C34-40CEB09026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000" y="2178399"/>
            <a:ext cx="419100" cy="419100"/>
          </a:xfrm>
          <a:prstGeom prst="rect">
            <a:avLst/>
          </a:prstGeom>
        </p:spPr>
      </p:pic>
      <p:pic>
        <p:nvPicPr>
          <p:cNvPr id="6" name="图形 5" descr="箭头: 轻微弯曲 纯色填充">
            <a:extLst>
              <a:ext uri="{FF2B5EF4-FFF2-40B4-BE49-F238E27FC236}">
                <a16:creationId xmlns:a16="http://schemas.microsoft.com/office/drawing/2014/main" id="{39A26F8F-0A7C-9CBE-12D9-E224D79F3B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000" y="2621815"/>
            <a:ext cx="419100" cy="419100"/>
          </a:xfrm>
          <a:prstGeom prst="rect">
            <a:avLst/>
          </a:prstGeom>
        </p:spPr>
      </p:pic>
      <p:pic>
        <p:nvPicPr>
          <p:cNvPr id="10" name="图形 9" descr="箭头: 轻微弯曲 纯色填充">
            <a:extLst>
              <a:ext uri="{FF2B5EF4-FFF2-40B4-BE49-F238E27FC236}">
                <a16:creationId xmlns:a16="http://schemas.microsoft.com/office/drawing/2014/main" id="{5D3FE5DF-51F1-4A4D-1A77-2B7E4B5E5C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000" y="3065231"/>
            <a:ext cx="419100" cy="419100"/>
          </a:xfrm>
          <a:prstGeom prst="rect">
            <a:avLst/>
          </a:prstGeom>
        </p:spPr>
      </p:pic>
      <p:pic>
        <p:nvPicPr>
          <p:cNvPr id="11" name="图形 10" descr="箭头: 轻微弯曲 纯色填充">
            <a:extLst>
              <a:ext uri="{FF2B5EF4-FFF2-40B4-BE49-F238E27FC236}">
                <a16:creationId xmlns:a16="http://schemas.microsoft.com/office/drawing/2014/main" id="{4AB066CC-85DE-C448-64A3-4951BCFB48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000" y="3493408"/>
            <a:ext cx="419100" cy="419100"/>
          </a:xfrm>
          <a:prstGeom prst="rect">
            <a:avLst/>
          </a:prstGeom>
        </p:spPr>
      </p:pic>
      <p:sp>
        <p:nvSpPr>
          <p:cNvPr id="12" name="文本框 11">
            <a:extLst>
              <a:ext uri="{FF2B5EF4-FFF2-40B4-BE49-F238E27FC236}">
                <a16:creationId xmlns:a16="http://schemas.microsoft.com/office/drawing/2014/main" id="{3801B848-29B5-3430-54E1-27244BDB64E6}"/>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7</a:t>
            </a:r>
          </a:p>
        </p:txBody>
      </p:sp>
    </p:spTree>
    <p:extLst>
      <p:ext uri="{BB962C8B-B14F-4D97-AF65-F5344CB8AC3E}">
        <p14:creationId xmlns:p14="http://schemas.microsoft.com/office/powerpoint/2010/main" val="40162639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A4F1BDA-5C5D-EABE-021E-0264D8F8D846}"/>
              </a:ext>
            </a:extLst>
          </p:cNvPr>
          <p:cNvGraphicFramePr>
            <a:graphicFrameLocks noChangeAspect="1"/>
          </p:cNvGraphicFramePr>
          <p:nvPr>
            <p:custDataLst>
              <p:tags r:id="rId1"/>
            </p:custDataLst>
            <p:extLst>
              <p:ext uri="{D42A27DB-BD31-4B8C-83A1-F6EECF244321}">
                <p14:modId xmlns:p14="http://schemas.microsoft.com/office/powerpoint/2010/main" val="401308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3A4F1BDA-5C5D-EABE-021E-0264D8F8D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35" name="Google Shape;835;p63"/>
          <p:cNvSpPr txBox="1">
            <a:spLocks noGrp="1"/>
          </p:cNvSpPr>
          <p:nvPr>
            <p:ph type="title"/>
          </p:nvPr>
        </p:nvSpPr>
        <p:spPr>
          <a:xfrm>
            <a:off x="635925" y="2393650"/>
            <a:ext cx="4705800" cy="1457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sz="3600"/>
              <a:t>Insights</a:t>
            </a:r>
          </a:p>
        </p:txBody>
      </p:sp>
      <p:pic>
        <p:nvPicPr>
          <p:cNvPr id="837" name="Google Shape;837;p63"/>
          <p:cNvPicPr preferRelativeResize="0"/>
          <p:nvPr/>
        </p:nvPicPr>
        <p:blipFill rotWithShape="1">
          <a:blip r:embed="rId6">
            <a:alphaModFix/>
          </a:blip>
          <a:srcRect l="7387" r="8564"/>
          <a:stretch/>
        </p:blipFill>
        <p:spPr>
          <a:xfrm>
            <a:off x="5083450" y="1206650"/>
            <a:ext cx="3986724" cy="3330450"/>
          </a:xfrm>
          <a:prstGeom prst="rect">
            <a:avLst/>
          </a:prstGeom>
          <a:noFill/>
          <a:ln>
            <a:noFill/>
          </a:ln>
        </p:spPr>
      </p:pic>
      <p:sp>
        <p:nvSpPr>
          <p:cNvPr id="838" name="Google Shape;838;p63"/>
          <p:cNvSpPr txBox="1">
            <a:spLocks noGrp="1"/>
          </p:cNvSpPr>
          <p:nvPr>
            <p:ph type="title" idx="2"/>
          </p:nvPr>
        </p:nvSpPr>
        <p:spPr>
          <a:xfrm>
            <a:off x="2362175" y="1067119"/>
            <a:ext cx="1252800" cy="1251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4</a:t>
            </a:r>
            <a:endParaRPr/>
          </a:p>
        </p:txBody>
      </p:sp>
      <p:sp>
        <p:nvSpPr>
          <p:cNvPr id="4" name="文本框 3">
            <a:extLst>
              <a:ext uri="{FF2B5EF4-FFF2-40B4-BE49-F238E27FC236}">
                <a16:creationId xmlns:a16="http://schemas.microsoft.com/office/drawing/2014/main" id="{F9DEC656-88D3-21B6-00FB-24E89C76E57B}"/>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8</a:t>
            </a:r>
          </a:p>
        </p:txBody>
      </p:sp>
    </p:spTree>
    <p:extLst>
      <p:ext uri="{BB962C8B-B14F-4D97-AF65-F5344CB8AC3E}">
        <p14:creationId xmlns:p14="http://schemas.microsoft.com/office/powerpoint/2010/main" val="2257815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E70BE5D8-47D6-A77D-5D9F-4D40DA5B7228}"/>
              </a:ext>
            </a:extLst>
          </p:cNvPr>
          <p:cNvPicPr>
            <a:picLocks noChangeAspect="1"/>
          </p:cNvPicPr>
          <p:nvPr/>
        </p:nvPicPr>
        <p:blipFill>
          <a:blip r:embed="rId3"/>
          <a:stretch>
            <a:fillRect/>
          </a:stretch>
        </p:blipFill>
        <p:spPr>
          <a:xfrm>
            <a:off x="501313" y="1195529"/>
            <a:ext cx="3732407" cy="2965857"/>
          </a:xfrm>
          <a:prstGeom prst="rect">
            <a:avLst/>
          </a:prstGeom>
          <a:noFill/>
          <a:ln>
            <a:noFill/>
          </a:ln>
        </p:spPr>
      </p:pic>
      <p:pic>
        <p:nvPicPr>
          <p:cNvPr id="6" name="Picture 5">
            <a:extLst>
              <a:ext uri="{FF2B5EF4-FFF2-40B4-BE49-F238E27FC236}">
                <a16:creationId xmlns:a16="http://schemas.microsoft.com/office/drawing/2014/main" id="{C21B313D-7655-A550-9EB9-B89FCB289809}"/>
              </a:ext>
            </a:extLst>
          </p:cNvPr>
          <p:cNvPicPr>
            <a:picLocks noChangeAspect="1"/>
          </p:cNvPicPr>
          <p:nvPr/>
        </p:nvPicPr>
        <p:blipFill>
          <a:blip r:embed="rId4"/>
          <a:stretch>
            <a:fillRect/>
          </a:stretch>
        </p:blipFill>
        <p:spPr>
          <a:xfrm>
            <a:off x="4910280" y="1195529"/>
            <a:ext cx="3714356" cy="2965857"/>
          </a:xfrm>
          <a:prstGeom prst="rect">
            <a:avLst/>
          </a:prstGeom>
        </p:spPr>
      </p:pic>
      <p:sp>
        <p:nvSpPr>
          <p:cNvPr id="8" name="TextBox 7">
            <a:extLst>
              <a:ext uri="{FF2B5EF4-FFF2-40B4-BE49-F238E27FC236}">
                <a16:creationId xmlns:a16="http://schemas.microsoft.com/office/drawing/2014/main" id="{8530242F-1C71-BF70-EA91-BCDB28CDDCF4}"/>
              </a:ext>
            </a:extLst>
          </p:cNvPr>
          <p:cNvSpPr txBox="1"/>
          <p:nvPr/>
        </p:nvSpPr>
        <p:spPr>
          <a:xfrm>
            <a:off x="945747" y="731734"/>
            <a:ext cx="3358192" cy="553998"/>
          </a:xfrm>
          <a:prstGeom prst="rect">
            <a:avLst/>
          </a:prstGeom>
          <a:noFill/>
        </p:spPr>
        <p:txBody>
          <a:bodyPr wrap="square" rtlCol="0">
            <a:spAutoFit/>
          </a:bodyPr>
          <a:lstStyle/>
          <a:p>
            <a:r>
              <a:rPr lang="en-US" sz="1600" b="1">
                <a:solidFill>
                  <a:schemeClr val="bg1"/>
                </a:solidFill>
              </a:rPr>
              <a:t>Most Customers Locate in South</a:t>
            </a:r>
          </a:p>
          <a:p>
            <a:endParaRPr lang="en-US"/>
          </a:p>
        </p:txBody>
      </p:sp>
      <p:sp>
        <p:nvSpPr>
          <p:cNvPr id="9" name="TextBox 8">
            <a:extLst>
              <a:ext uri="{FF2B5EF4-FFF2-40B4-BE49-F238E27FC236}">
                <a16:creationId xmlns:a16="http://schemas.microsoft.com/office/drawing/2014/main" id="{6D165CDF-7CB6-2A47-57BC-FB2C2F8673C5}"/>
              </a:ext>
            </a:extLst>
          </p:cNvPr>
          <p:cNvSpPr txBox="1"/>
          <p:nvPr/>
        </p:nvSpPr>
        <p:spPr>
          <a:xfrm>
            <a:off x="5377819" y="716620"/>
            <a:ext cx="2893345" cy="338554"/>
          </a:xfrm>
          <a:prstGeom prst="rect">
            <a:avLst/>
          </a:prstGeom>
          <a:noFill/>
        </p:spPr>
        <p:txBody>
          <a:bodyPr wrap="square" rtlCol="0">
            <a:spAutoFit/>
          </a:bodyPr>
          <a:lstStyle/>
          <a:p>
            <a:r>
              <a:rPr lang="en-US" sz="1600" b="1">
                <a:solidFill>
                  <a:schemeClr val="bg1"/>
                </a:solidFill>
              </a:rPr>
              <a:t>SP has 42% of Customers</a:t>
            </a:r>
          </a:p>
        </p:txBody>
      </p:sp>
      <p:sp>
        <p:nvSpPr>
          <p:cNvPr id="11" name="Connector 10">
            <a:extLst>
              <a:ext uri="{FF2B5EF4-FFF2-40B4-BE49-F238E27FC236}">
                <a16:creationId xmlns:a16="http://schemas.microsoft.com/office/drawing/2014/main" id="{2E9E12C9-E803-846F-3D53-6C8FD672385D}"/>
              </a:ext>
            </a:extLst>
          </p:cNvPr>
          <p:cNvSpPr/>
          <p:nvPr/>
        </p:nvSpPr>
        <p:spPr>
          <a:xfrm>
            <a:off x="6405354" y="2848678"/>
            <a:ext cx="519379" cy="519379"/>
          </a:xfrm>
          <a:prstGeom prst="flowChartConnector">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2" name="Rectangle 11">
            <a:extLst>
              <a:ext uri="{FF2B5EF4-FFF2-40B4-BE49-F238E27FC236}">
                <a16:creationId xmlns:a16="http://schemas.microsoft.com/office/drawing/2014/main" id="{6F3F0E8B-D628-9C29-84A6-1CDB91ABFB0D}"/>
              </a:ext>
            </a:extLst>
          </p:cNvPr>
          <p:cNvSpPr/>
          <p:nvPr/>
        </p:nvSpPr>
        <p:spPr>
          <a:xfrm>
            <a:off x="2219267" y="1749527"/>
            <a:ext cx="1595512" cy="2333549"/>
          </a:xfrm>
          <a:prstGeom prst="rect">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oogle Shape;6055;p90">
            <a:extLst>
              <a:ext uri="{FF2B5EF4-FFF2-40B4-BE49-F238E27FC236}">
                <a16:creationId xmlns:a16="http://schemas.microsoft.com/office/drawing/2014/main" id="{7C7C4D38-E918-2452-783F-118DFC526888}"/>
              </a:ext>
            </a:extLst>
          </p:cNvPr>
          <p:cNvGrpSpPr/>
          <p:nvPr/>
        </p:nvGrpSpPr>
        <p:grpSpPr>
          <a:xfrm>
            <a:off x="501313" y="656999"/>
            <a:ext cx="370645" cy="368042"/>
            <a:chOff x="-63250675" y="3744075"/>
            <a:chExt cx="320350" cy="318100"/>
          </a:xfrm>
        </p:grpSpPr>
        <p:sp>
          <p:nvSpPr>
            <p:cNvPr id="54" name="Google Shape;6056;p90">
              <a:extLst>
                <a:ext uri="{FF2B5EF4-FFF2-40B4-BE49-F238E27FC236}">
                  <a16:creationId xmlns:a16="http://schemas.microsoft.com/office/drawing/2014/main" id="{7BEED125-B9A5-0ECD-DE03-C434A6DACE46}"/>
                </a:ext>
              </a:extLst>
            </p:cNvPr>
            <p:cNvSpPr/>
            <p:nvPr/>
          </p:nvSpPr>
          <p:spPr>
            <a:xfrm>
              <a:off x="-63126250" y="3744075"/>
              <a:ext cx="195925" cy="192875"/>
            </a:xfrm>
            <a:custGeom>
              <a:avLst/>
              <a:gdLst/>
              <a:ahLst/>
              <a:cxnLst/>
              <a:rect l="l" t="t" r="r" b="b"/>
              <a:pathLst>
                <a:path w="7837" h="7715" extrusionOk="0">
                  <a:moveTo>
                    <a:pt x="6020" y="0"/>
                  </a:moveTo>
                  <a:cubicBezTo>
                    <a:pt x="5921" y="0"/>
                    <a:pt x="5820" y="37"/>
                    <a:pt x="5735" y="122"/>
                  </a:cubicBezTo>
                  <a:lnTo>
                    <a:pt x="4097" y="1760"/>
                  </a:lnTo>
                  <a:cubicBezTo>
                    <a:pt x="4034" y="1854"/>
                    <a:pt x="3971" y="1917"/>
                    <a:pt x="3971" y="2012"/>
                  </a:cubicBezTo>
                  <a:lnTo>
                    <a:pt x="3782" y="3304"/>
                  </a:lnTo>
                  <a:lnTo>
                    <a:pt x="1734" y="5351"/>
                  </a:lnTo>
                  <a:cubicBezTo>
                    <a:pt x="1576" y="5288"/>
                    <a:pt x="1387" y="5225"/>
                    <a:pt x="1230" y="5225"/>
                  </a:cubicBezTo>
                  <a:cubicBezTo>
                    <a:pt x="537" y="5225"/>
                    <a:pt x="1" y="5793"/>
                    <a:pt x="1" y="6486"/>
                  </a:cubicBezTo>
                  <a:cubicBezTo>
                    <a:pt x="1" y="7210"/>
                    <a:pt x="537" y="7714"/>
                    <a:pt x="1230" y="7714"/>
                  </a:cubicBezTo>
                  <a:cubicBezTo>
                    <a:pt x="1891" y="7714"/>
                    <a:pt x="2458" y="7179"/>
                    <a:pt x="2458" y="6486"/>
                  </a:cubicBezTo>
                  <a:cubicBezTo>
                    <a:pt x="2458" y="6297"/>
                    <a:pt x="2395" y="6139"/>
                    <a:pt x="2332" y="5982"/>
                  </a:cubicBezTo>
                  <a:lnTo>
                    <a:pt x="4380" y="3934"/>
                  </a:lnTo>
                  <a:lnTo>
                    <a:pt x="5672" y="3745"/>
                  </a:lnTo>
                  <a:cubicBezTo>
                    <a:pt x="5735" y="3745"/>
                    <a:pt x="5829" y="3713"/>
                    <a:pt x="5924" y="3619"/>
                  </a:cubicBezTo>
                  <a:lnTo>
                    <a:pt x="7562" y="1980"/>
                  </a:lnTo>
                  <a:cubicBezTo>
                    <a:pt x="7837" y="1706"/>
                    <a:pt x="7609" y="1254"/>
                    <a:pt x="7251" y="1254"/>
                  </a:cubicBezTo>
                  <a:cubicBezTo>
                    <a:pt x="7240" y="1254"/>
                    <a:pt x="7228" y="1255"/>
                    <a:pt x="7216" y="1256"/>
                  </a:cubicBezTo>
                  <a:lnTo>
                    <a:pt x="6302" y="1382"/>
                  </a:lnTo>
                  <a:lnTo>
                    <a:pt x="6428" y="468"/>
                  </a:lnTo>
                  <a:cubicBezTo>
                    <a:pt x="6472" y="203"/>
                    <a:pt x="6253" y="0"/>
                    <a:pt x="602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057;p90">
              <a:extLst>
                <a:ext uri="{FF2B5EF4-FFF2-40B4-BE49-F238E27FC236}">
                  <a16:creationId xmlns:a16="http://schemas.microsoft.com/office/drawing/2014/main" id="{C680FD8A-637F-AAC7-5A53-0821A2377C69}"/>
                </a:ext>
              </a:extLst>
            </p:cNvPr>
            <p:cNvSpPr/>
            <p:nvPr/>
          </p:nvSpPr>
          <p:spPr>
            <a:xfrm>
              <a:off x="-63190025" y="3814050"/>
              <a:ext cx="186675" cy="185900"/>
            </a:xfrm>
            <a:custGeom>
              <a:avLst/>
              <a:gdLst/>
              <a:ahLst/>
              <a:cxnLst/>
              <a:rect l="l" t="t" r="r" b="b"/>
              <a:pathLst>
                <a:path w="7467" h="7436" extrusionOk="0">
                  <a:moveTo>
                    <a:pt x="3718" y="1"/>
                  </a:moveTo>
                  <a:cubicBezTo>
                    <a:pt x="1670" y="1"/>
                    <a:pt x="0" y="1670"/>
                    <a:pt x="0" y="3750"/>
                  </a:cubicBezTo>
                  <a:cubicBezTo>
                    <a:pt x="0" y="5797"/>
                    <a:pt x="1638" y="7436"/>
                    <a:pt x="3718" y="7436"/>
                  </a:cubicBezTo>
                  <a:cubicBezTo>
                    <a:pt x="5765" y="7436"/>
                    <a:pt x="7467" y="5797"/>
                    <a:pt x="7467" y="3750"/>
                  </a:cubicBezTo>
                  <a:cubicBezTo>
                    <a:pt x="7467" y="3151"/>
                    <a:pt x="7341" y="2647"/>
                    <a:pt x="7120" y="2143"/>
                  </a:cubicBezTo>
                  <a:lnTo>
                    <a:pt x="5828" y="3435"/>
                  </a:lnTo>
                  <a:cubicBezTo>
                    <a:pt x="5828" y="3498"/>
                    <a:pt x="5860" y="3624"/>
                    <a:pt x="5860" y="3718"/>
                  </a:cubicBezTo>
                  <a:cubicBezTo>
                    <a:pt x="5860" y="4852"/>
                    <a:pt x="4915" y="5797"/>
                    <a:pt x="3781" y="5797"/>
                  </a:cubicBezTo>
                  <a:cubicBezTo>
                    <a:pt x="2615" y="5797"/>
                    <a:pt x="1670" y="4852"/>
                    <a:pt x="1670" y="3718"/>
                  </a:cubicBezTo>
                  <a:cubicBezTo>
                    <a:pt x="1733" y="2552"/>
                    <a:pt x="2615" y="1607"/>
                    <a:pt x="3781" y="1607"/>
                  </a:cubicBezTo>
                  <a:cubicBezTo>
                    <a:pt x="3875" y="1607"/>
                    <a:pt x="3970" y="1607"/>
                    <a:pt x="4033" y="1670"/>
                  </a:cubicBezTo>
                  <a:lnTo>
                    <a:pt x="5356" y="347"/>
                  </a:lnTo>
                  <a:cubicBezTo>
                    <a:pt x="4883" y="127"/>
                    <a:pt x="4316" y="1"/>
                    <a:pt x="3718"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058;p90">
              <a:extLst>
                <a:ext uri="{FF2B5EF4-FFF2-40B4-BE49-F238E27FC236}">
                  <a16:creationId xmlns:a16="http://schemas.microsoft.com/office/drawing/2014/main" id="{A22E309B-811C-B0AD-2107-81CF32313DDD}"/>
                </a:ext>
              </a:extLst>
            </p:cNvPr>
            <p:cNvSpPr/>
            <p:nvPr/>
          </p:nvSpPr>
          <p:spPr>
            <a:xfrm>
              <a:off x="-63250675" y="3751050"/>
              <a:ext cx="311125" cy="311125"/>
            </a:xfrm>
            <a:custGeom>
              <a:avLst/>
              <a:gdLst/>
              <a:ahLst/>
              <a:cxnLst/>
              <a:rect l="l" t="t" r="r" b="b"/>
              <a:pathLst>
                <a:path w="12445" h="12445" extrusionOk="0">
                  <a:moveTo>
                    <a:pt x="6270" y="0"/>
                  </a:moveTo>
                  <a:cubicBezTo>
                    <a:pt x="2773" y="0"/>
                    <a:pt x="0" y="2804"/>
                    <a:pt x="0" y="6238"/>
                  </a:cubicBezTo>
                  <a:cubicBezTo>
                    <a:pt x="0" y="9641"/>
                    <a:pt x="2804" y="12445"/>
                    <a:pt x="6238" y="12445"/>
                  </a:cubicBezTo>
                  <a:cubicBezTo>
                    <a:pt x="9672" y="12445"/>
                    <a:pt x="12445" y="9641"/>
                    <a:pt x="12445" y="6238"/>
                  </a:cubicBezTo>
                  <a:cubicBezTo>
                    <a:pt x="12445" y="5325"/>
                    <a:pt x="12256" y="4411"/>
                    <a:pt x="11878" y="3592"/>
                  </a:cubicBezTo>
                  <a:lnTo>
                    <a:pt x="11563" y="3907"/>
                  </a:lnTo>
                  <a:cubicBezTo>
                    <a:pt x="11342" y="4096"/>
                    <a:pt x="11121" y="4222"/>
                    <a:pt x="10838" y="4253"/>
                  </a:cubicBezTo>
                  <a:lnTo>
                    <a:pt x="10397" y="4348"/>
                  </a:lnTo>
                  <a:cubicBezTo>
                    <a:pt x="10680" y="4915"/>
                    <a:pt x="10806" y="5545"/>
                    <a:pt x="10806" y="6238"/>
                  </a:cubicBezTo>
                  <a:cubicBezTo>
                    <a:pt x="10806" y="8759"/>
                    <a:pt x="8759" y="10743"/>
                    <a:pt x="6270" y="10743"/>
                  </a:cubicBezTo>
                  <a:cubicBezTo>
                    <a:pt x="3781" y="10743"/>
                    <a:pt x="1733" y="8696"/>
                    <a:pt x="1733" y="6238"/>
                  </a:cubicBezTo>
                  <a:cubicBezTo>
                    <a:pt x="1733" y="3718"/>
                    <a:pt x="3781" y="1670"/>
                    <a:pt x="6270" y="1670"/>
                  </a:cubicBezTo>
                  <a:cubicBezTo>
                    <a:pt x="6931" y="1670"/>
                    <a:pt x="7561" y="1796"/>
                    <a:pt x="8160" y="2048"/>
                  </a:cubicBezTo>
                  <a:lnTo>
                    <a:pt x="8254" y="1607"/>
                  </a:lnTo>
                  <a:cubicBezTo>
                    <a:pt x="8286" y="1355"/>
                    <a:pt x="8412" y="1103"/>
                    <a:pt x="8601" y="914"/>
                  </a:cubicBezTo>
                  <a:lnTo>
                    <a:pt x="8916" y="599"/>
                  </a:lnTo>
                  <a:cubicBezTo>
                    <a:pt x="8097" y="189"/>
                    <a:pt x="7215" y="0"/>
                    <a:pt x="6270"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 name="Google Shape;5341;p88">
            <a:extLst>
              <a:ext uri="{FF2B5EF4-FFF2-40B4-BE49-F238E27FC236}">
                <a16:creationId xmlns:a16="http://schemas.microsoft.com/office/drawing/2014/main" id="{1F73DE60-D84C-CF83-4603-AAD544E5D428}"/>
              </a:ext>
            </a:extLst>
          </p:cNvPr>
          <p:cNvGrpSpPr/>
          <p:nvPr/>
        </p:nvGrpSpPr>
        <p:grpSpPr>
          <a:xfrm>
            <a:off x="4907909" y="616941"/>
            <a:ext cx="385420" cy="387594"/>
            <a:chOff x="5045500" y="842250"/>
            <a:chExt cx="503875" cy="481850"/>
          </a:xfrm>
        </p:grpSpPr>
        <p:sp>
          <p:nvSpPr>
            <p:cNvPr id="58" name="Google Shape;5342;p88">
              <a:extLst>
                <a:ext uri="{FF2B5EF4-FFF2-40B4-BE49-F238E27FC236}">
                  <a16:creationId xmlns:a16="http://schemas.microsoft.com/office/drawing/2014/main" id="{B9EFEE60-283E-5572-84FC-08C82B57D46D}"/>
                </a:ext>
              </a:extLst>
            </p:cNvPr>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9" name="Google Shape;5343;p88">
              <a:extLst>
                <a:ext uri="{FF2B5EF4-FFF2-40B4-BE49-F238E27FC236}">
                  <a16:creationId xmlns:a16="http://schemas.microsoft.com/office/drawing/2014/main" id="{2C4CFFB3-81C5-C9B7-21F0-DBD486DE2320}"/>
                </a:ext>
              </a:extLst>
            </p:cNvPr>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61" name="标题 6">
            <a:extLst>
              <a:ext uri="{FF2B5EF4-FFF2-40B4-BE49-F238E27FC236}">
                <a16:creationId xmlns:a16="http://schemas.microsoft.com/office/drawing/2014/main" id="{83E5B6F2-B383-6041-9718-2F3AB076A0BF}"/>
              </a:ext>
            </a:extLst>
          </p:cNvPr>
          <p:cNvSpPr>
            <a:spLocks noGrp="1"/>
          </p:cNvSpPr>
          <p:nvPr>
            <p:ph type="title"/>
          </p:nvPr>
        </p:nvSpPr>
        <p:spPr>
          <a:xfrm>
            <a:off x="501313" y="127162"/>
            <a:ext cx="7704000" cy="572700"/>
          </a:xfrm>
        </p:spPr>
        <p:txBody>
          <a:bodyPr vert="horz"/>
          <a:lstStyle/>
          <a:p>
            <a:pPr algn="l"/>
            <a:r>
              <a:rPr lang="en-US" altLang="zh-CN" sz="2800"/>
              <a:t>Demographics</a:t>
            </a:r>
            <a:endParaRPr lang="zh-CN" altLang="en-US" sz="2800"/>
          </a:p>
        </p:txBody>
      </p:sp>
      <p:sp>
        <p:nvSpPr>
          <p:cNvPr id="18" name="TextBox 17">
            <a:extLst>
              <a:ext uri="{FF2B5EF4-FFF2-40B4-BE49-F238E27FC236}">
                <a16:creationId xmlns:a16="http://schemas.microsoft.com/office/drawing/2014/main" id="{DA3086A6-F338-AB4C-80D2-F0D4F02583E0}"/>
              </a:ext>
            </a:extLst>
          </p:cNvPr>
          <p:cNvSpPr txBox="1"/>
          <p:nvPr/>
        </p:nvSpPr>
        <p:spPr>
          <a:xfrm>
            <a:off x="732555" y="4364665"/>
            <a:ext cx="7678890" cy="584775"/>
          </a:xfrm>
          <a:prstGeom prst="rect">
            <a:avLst/>
          </a:prstGeom>
          <a:solidFill>
            <a:schemeClr val="accent2"/>
          </a:solidFill>
        </p:spPr>
        <p:txBody>
          <a:bodyPr wrap="square" rtlCol="0">
            <a:spAutoFit/>
          </a:bodyPr>
          <a:lstStyle/>
          <a:p>
            <a:pPr algn="ctr"/>
            <a:r>
              <a:rPr lang="en-US" sz="1600" b="1">
                <a:solidFill>
                  <a:schemeClr val="bg1"/>
                </a:solidFill>
              </a:rPr>
              <a:t>SP's significant customer share offers an opportunity for localized marketing campaigns, tailored events, and regional product launches</a:t>
            </a:r>
          </a:p>
        </p:txBody>
      </p:sp>
      <p:sp>
        <p:nvSpPr>
          <p:cNvPr id="3" name="文本框 2">
            <a:extLst>
              <a:ext uri="{FF2B5EF4-FFF2-40B4-BE49-F238E27FC236}">
                <a16:creationId xmlns:a16="http://schemas.microsoft.com/office/drawing/2014/main" id="{274D5BB3-2037-A513-E424-0FBB145A37AF}"/>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19</a:t>
            </a:r>
          </a:p>
        </p:txBody>
      </p:sp>
    </p:spTree>
    <p:extLst>
      <p:ext uri="{BB962C8B-B14F-4D97-AF65-F5344CB8AC3E}">
        <p14:creationId xmlns:p14="http://schemas.microsoft.com/office/powerpoint/2010/main" val="3942716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DF52307-DBC3-03AB-9834-1D922F217171}"/>
              </a:ext>
            </a:extLst>
          </p:cNvPr>
          <p:cNvGraphicFramePr>
            <a:graphicFrameLocks noChangeAspect="1"/>
          </p:cNvGraphicFramePr>
          <p:nvPr>
            <p:custDataLst>
              <p:tags r:id="rId1"/>
            </p:custDataLst>
            <p:extLst>
              <p:ext uri="{D42A27DB-BD31-4B8C-83A1-F6EECF244321}">
                <p14:modId xmlns:p14="http://schemas.microsoft.com/office/powerpoint/2010/main" val="27897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3DF52307-DBC3-03AB-9834-1D922F217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Google Shape;91;p14"/>
          <p:cNvSpPr txBox="1">
            <a:spLocks noGrp="1"/>
          </p:cNvSpPr>
          <p:nvPr>
            <p:ph type="title"/>
          </p:nvPr>
        </p:nvSpPr>
        <p:spPr>
          <a:prstGeom prst="rect">
            <a:avLst/>
          </a:prstGeom>
        </p:spPr>
        <p:txBody>
          <a:bodyPr spcFirstLastPara="1" vert="horz" wrap="square" lIns="91425" tIns="91425" rIns="91425" bIns="91425" rtlCol="0" anchor="t" anchorCtr="0">
            <a:normAutofit fontScale="90000"/>
          </a:bodyPr>
          <a:lstStyle/>
          <a:p>
            <a:r>
              <a:rPr lang="zh-CN">
                <a:latin typeface="DM Sans" pitchFamily="2" charset="0"/>
                <a:ea typeface="Georgia"/>
                <a:cs typeface="Georgia"/>
                <a:sym typeface="Georgia"/>
              </a:rPr>
              <a:t>Meet Our Team</a:t>
            </a:r>
            <a:endParaRPr>
              <a:latin typeface="DM Sans" pitchFamily="2" charset="0"/>
              <a:ea typeface="Georgia"/>
              <a:cs typeface="Georgia"/>
              <a:sym typeface="Georgia"/>
            </a:endParaRPr>
          </a:p>
        </p:txBody>
      </p:sp>
      <p:pic>
        <p:nvPicPr>
          <p:cNvPr id="92" name="Google Shape;92;p14"/>
          <p:cNvPicPr preferRelativeResize="0"/>
          <p:nvPr/>
        </p:nvPicPr>
        <p:blipFill rotWithShape="1">
          <a:blip r:embed="rId6">
            <a:alphaModFix/>
          </a:blip>
          <a:srcRect l="5916" t="6632" r="5907" b="30379"/>
          <a:stretch/>
        </p:blipFill>
        <p:spPr>
          <a:xfrm>
            <a:off x="1042531" y="1285887"/>
            <a:ext cx="1312500" cy="1312500"/>
          </a:xfrm>
          <a:prstGeom prst="ellipse">
            <a:avLst/>
          </a:prstGeom>
          <a:noFill/>
          <a:ln>
            <a:noFill/>
          </a:ln>
        </p:spPr>
      </p:pic>
      <p:pic>
        <p:nvPicPr>
          <p:cNvPr id="93" name="Google Shape;93;p14"/>
          <p:cNvPicPr preferRelativeResize="0"/>
          <p:nvPr/>
        </p:nvPicPr>
        <p:blipFill rotWithShape="1">
          <a:blip r:embed="rId7">
            <a:alphaModFix/>
          </a:blip>
          <a:srcRect/>
          <a:stretch/>
        </p:blipFill>
        <p:spPr>
          <a:xfrm>
            <a:off x="4643881" y="1285887"/>
            <a:ext cx="1312500" cy="1312500"/>
          </a:xfrm>
          <a:prstGeom prst="ellipse">
            <a:avLst/>
          </a:prstGeom>
          <a:noFill/>
          <a:ln>
            <a:noFill/>
          </a:ln>
        </p:spPr>
      </p:pic>
      <p:pic>
        <p:nvPicPr>
          <p:cNvPr id="94" name="Google Shape;94;p14"/>
          <p:cNvPicPr preferRelativeResize="0"/>
          <p:nvPr/>
        </p:nvPicPr>
        <p:blipFill>
          <a:blip r:embed="rId8"/>
          <a:srcRect l="1807" r="1807"/>
          <a:stretch/>
        </p:blipFill>
        <p:spPr>
          <a:xfrm>
            <a:off x="1007881" y="2865850"/>
            <a:ext cx="1381800" cy="1369500"/>
          </a:xfrm>
          <a:prstGeom prst="ellipse">
            <a:avLst/>
          </a:prstGeom>
          <a:noFill/>
          <a:ln>
            <a:noFill/>
          </a:ln>
        </p:spPr>
      </p:pic>
      <p:pic>
        <p:nvPicPr>
          <p:cNvPr id="95" name="Google Shape;95;p14"/>
          <p:cNvPicPr preferRelativeResize="0"/>
          <p:nvPr/>
        </p:nvPicPr>
        <p:blipFill rotWithShape="1">
          <a:blip r:embed="rId9">
            <a:alphaModFix/>
          </a:blip>
          <a:srcRect t="8848" b="34860"/>
          <a:stretch/>
        </p:blipFill>
        <p:spPr>
          <a:xfrm>
            <a:off x="4643881" y="2894350"/>
            <a:ext cx="1312500" cy="1312500"/>
          </a:xfrm>
          <a:prstGeom prst="ellipse">
            <a:avLst/>
          </a:prstGeom>
          <a:noFill/>
          <a:ln>
            <a:noFill/>
          </a:ln>
        </p:spPr>
      </p:pic>
      <p:sp>
        <p:nvSpPr>
          <p:cNvPr id="96" name="Google Shape;96;p14"/>
          <p:cNvSpPr txBox="1"/>
          <p:nvPr/>
        </p:nvSpPr>
        <p:spPr>
          <a:xfrm>
            <a:off x="2492637" y="1452537"/>
            <a:ext cx="2265000" cy="979200"/>
          </a:xfrm>
          <a:prstGeom prst="rect">
            <a:avLst/>
          </a:prstGeom>
          <a:noFill/>
          <a:ln>
            <a:noFill/>
          </a:ln>
        </p:spPr>
        <p:txBody>
          <a:bodyPr spcFirstLastPara="1" wrap="square" lIns="91425" tIns="91425" rIns="91425" bIns="91425" anchor="ctr" anchorCtr="0">
            <a:noAutofit/>
          </a:bodyPr>
          <a:lstStyle/>
          <a:p>
            <a:r>
              <a:rPr lang="en-US" altLang="zh-CN" sz="1500" err="1">
                <a:latin typeface="Georgia"/>
                <a:ea typeface="Georgia"/>
                <a:cs typeface="Georgia"/>
                <a:sym typeface="Georgia"/>
              </a:rPr>
              <a:t>Yiwen</a:t>
            </a:r>
            <a:r>
              <a:rPr lang="en-US" altLang="zh-CN" sz="1500">
                <a:latin typeface="Georgia"/>
                <a:ea typeface="Georgia"/>
                <a:cs typeface="Georgia"/>
                <a:sym typeface="Georgia"/>
              </a:rPr>
              <a:t> Song</a:t>
            </a:r>
            <a:endParaRPr sz="1500">
              <a:latin typeface="Georgia"/>
              <a:ea typeface="Georgia"/>
              <a:cs typeface="Georgia"/>
              <a:sym typeface="Georgia"/>
            </a:endParaRPr>
          </a:p>
          <a:p>
            <a:r>
              <a:rPr lang="en-US" altLang="zh-CN" sz="1300">
                <a:latin typeface="Georgia"/>
                <a:sym typeface="Georgia"/>
              </a:rPr>
              <a:t>Data Engineer</a:t>
            </a:r>
            <a:endParaRPr lang="en-US" sz="1300">
              <a:latin typeface="Georgia"/>
              <a:sym typeface="Georgia"/>
            </a:endParaRPr>
          </a:p>
          <a:p>
            <a:r>
              <a:rPr lang="en-US" altLang="zh-CN" sz="1100" u="sng">
                <a:solidFill>
                  <a:schemeClr val="accent5"/>
                </a:solidFill>
                <a:latin typeface="Georgia"/>
                <a:ea typeface="Georgia"/>
                <a:cs typeface="Georgia"/>
                <a:sym typeface="Georgia"/>
              </a:rPr>
              <a:t>ysong64@uchicago.edu</a:t>
            </a:r>
            <a:endParaRPr lang="en-US" sz="700">
              <a:latin typeface="Georgia"/>
              <a:ea typeface="Georgia"/>
              <a:cs typeface="Georgia"/>
              <a:sym typeface="Georgia"/>
            </a:endParaRPr>
          </a:p>
        </p:txBody>
      </p:sp>
      <p:sp>
        <p:nvSpPr>
          <p:cNvPr id="97" name="Google Shape;97;p14"/>
          <p:cNvSpPr txBox="1"/>
          <p:nvPr/>
        </p:nvSpPr>
        <p:spPr>
          <a:xfrm>
            <a:off x="6062519" y="1343637"/>
            <a:ext cx="2623175" cy="1197000"/>
          </a:xfrm>
          <a:prstGeom prst="rect">
            <a:avLst/>
          </a:prstGeom>
          <a:noFill/>
          <a:ln>
            <a:noFill/>
          </a:ln>
        </p:spPr>
        <p:txBody>
          <a:bodyPr spcFirstLastPara="1" wrap="square" lIns="91425" tIns="91425" rIns="91425" bIns="91425" anchor="ctr" anchorCtr="0">
            <a:noAutofit/>
          </a:bodyPr>
          <a:lstStyle/>
          <a:p>
            <a:r>
              <a:rPr lang="en-US" altLang="zh-CN" sz="1500">
                <a:latin typeface="Georgia"/>
                <a:ea typeface="Georgia"/>
                <a:cs typeface="Georgia"/>
                <a:sym typeface="Georgia"/>
              </a:rPr>
              <a:t>Jessy Hu</a:t>
            </a:r>
            <a:endParaRPr sz="1500">
              <a:latin typeface="Georgia"/>
              <a:ea typeface="Georgia"/>
              <a:cs typeface="Georgia"/>
              <a:sym typeface="Georgia"/>
            </a:endParaRPr>
          </a:p>
          <a:p>
            <a:r>
              <a:rPr lang="en-US" altLang="zh-CN" sz="1300">
                <a:latin typeface="Georgia"/>
                <a:sym typeface="Georgia"/>
              </a:rPr>
              <a:t>Business Intelligence Analyst</a:t>
            </a:r>
            <a:endParaRPr lang="en-US" sz="1300">
              <a:latin typeface="Georgia"/>
              <a:sym typeface="Georgia"/>
            </a:endParaRPr>
          </a:p>
          <a:p>
            <a:r>
              <a:rPr lang="en-US" altLang="zh-CN" sz="1100" u="sng">
                <a:solidFill>
                  <a:schemeClr val="accent5"/>
                </a:solidFill>
                <a:latin typeface="Georgia"/>
                <a:ea typeface="Georgia"/>
                <a:cs typeface="Georgia"/>
                <a:sym typeface="Georgia"/>
                <a:hlinkClick r:id="rId10">
                  <a:extLst>
                    <a:ext uri="{A12FA001-AC4F-418D-AE19-62706E023703}">
                      <ahyp:hlinkClr xmlns:ahyp="http://schemas.microsoft.com/office/drawing/2018/hyperlinkcolor" val="tx"/>
                    </a:ext>
                  </a:extLst>
                </a:hlinkClick>
              </a:rPr>
              <a:t>jiaqi722@uchicago.edu</a:t>
            </a:r>
            <a:endParaRPr lang="en-US" sz="1100">
              <a:latin typeface="Georgia"/>
              <a:ea typeface="Georgia"/>
              <a:cs typeface="Georgia"/>
              <a:sym typeface="Georgia"/>
            </a:endParaRPr>
          </a:p>
        </p:txBody>
      </p:sp>
      <p:sp>
        <p:nvSpPr>
          <p:cNvPr id="98" name="Google Shape;98;p14"/>
          <p:cNvSpPr txBox="1"/>
          <p:nvPr/>
        </p:nvSpPr>
        <p:spPr>
          <a:xfrm>
            <a:off x="2492637" y="3125200"/>
            <a:ext cx="1908900" cy="850800"/>
          </a:xfrm>
          <a:prstGeom prst="rect">
            <a:avLst/>
          </a:prstGeom>
          <a:noFill/>
          <a:ln>
            <a:noFill/>
          </a:ln>
        </p:spPr>
        <p:txBody>
          <a:bodyPr spcFirstLastPara="1" wrap="square" lIns="91425" tIns="91425" rIns="91425" bIns="91425" anchor="ctr" anchorCtr="0">
            <a:noAutofit/>
          </a:bodyPr>
          <a:lstStyle/>
          <a:p>
            <a:r>
              <a:rPr lang="en-US" altLang="zh-CN" sz="1500">
                <a:latin typeface="Georgia"/>
                <a:ea typeface="Georgia"/>
                <a:cs typeface="Georgia"/>
                <a:sym typeface="Georgia"/>
              </a:rPr>
              <a:t>Jiayi Deng</a:t>
            </a:r>
            <a:endParaRPr sz="1500">
              <a:latin typeface="Georgia"/>
              <a:ea typeface="Georgia"/>
              <a:cs typeface="Georgia"/>
              <a:sym typeface="Georgia"/>
            </a:endParaRPr>
          </a:p>
          <a:p>
            <a:r>
              <a:rPr lang="en-US" altLang="zh-CN" sz="1300">
                <a:latin typeface="Georgia"/>
                <a:sym typeface="Georgia"/>
              </a:rPr>
              <a:t>Data Scientist</a:t>
            </a:r>
            <a:endParaRPr lang="en-US" sz="1300">
              <a:latin typeface="Georgia"/>
              <a:sym typeface="Georgia"/>
            </a:endParaRPr>
          </a:p>
          <a:p>
            <a:r>
              <a:rPr lang="en-US" altLang="zh-CN" sz="1100" u="sng">
                <a:solidFill>
                  <a:schemeClr val="accent5"/>
                </a:solidFill>
                <a:latin typeface="Georgia"/>
                <a:ea typeface="Georgia"/>
                <a:cs typeface="Georgia"/>
                <a:sym typeface="Georgia"/>
                <a:hlinkClick r:id="rId11">
                  <a:extLst>
                    <a:ext uri="{A12FA001-AC4F-418D-AE19-62706E023703}">
                      <ahyp:hlinkClr xmlns:ahyp="http://schemas.microsoft.com/office/drawing/2018/hyperlinkcolor" val="tx"/>
                    </a:ext>
                  </a:extLst>
                </a:hlinkClick>
              </a:rPr>
              <a:t>jiayideng@uchicago.edu</a:t>
            </a:r>
            <a:endParaRPr lang="en-US" sz="1800">
              <a:latin typeface="Georgia"/>
              <a:ea typeface="Georgia"/>
              <a:cs typeface="Georgia"/>
              <a:sym typeface="Georgia"/>
            </a:endParaRPr>
          </a:p>
        </p:txBody>
      </p:sp>
      <p:sp>
        <p:nvSpPr>
          <p:cNvPr id="4" name="Google Shape;98;p14">
            <a:extLst>
              <a:ext uri="{FF2B5EF4-FFF2-40B4-BE49-F238E27FC236}">
                <a16:creationId xmlns:a16="http://schemas.microsoft.com/office/drawing/2014/main" id="{EDB09304-B0D6-0C3B-03F3-54C3C28FCF40}"/>
              </a:ext>
            </a:extLst>
          </p:cNvPr>
          <p:cNvSpPr txBox="1"/>
          <p:nvPr/>
        </p:nvSpPr>
        <p:spPr>
          <a:xfrm>
            <a:off x="6062519" y="3125200"/>
            <a:ext cx="1908900" cy="850800"/>
          </a:xfrm>
          <a:prstGeom prst="rect">
            <a:avLst/>
          </a:prstGeom>
          <a:noFill/>
          <a:ln>
            <a:noFill/>
          </a:ln>
        </p:spPr>
        <p:txBody>
          <a:bodyPr spcFirstLastPara="1" wrap="square" lIns="91425" tIns="91425" rIns="91425" bIns="91425" anchor="ctr" anchorCtr="0">
            <a:noAutofit/>
          </a:bodyPr>
          <a:lstStyle/>
          <a:p>
            <a:r>
              <a:rPr lang="en-US" altLang="zh-CN" sz="1500">
                <a:latin typeface="Georgia"/>
                <a:ea typeface="Georgia"/>
                <a:cs typeface="Georgia"/>
                <a:sym typeface="Georgia"/>
              </a:rPr>
              <a:t>Serena Shi</a:t>
            </a:r>
          </a:p>
          <a:p>
            <a:r>
              <a:rPr lang="en-US" sz="1300">
                <a:latin typeface="Georgia"/>
                <a:ea typeface="Georgia"/>
                <a:cs typeface="Georgia"/>
                <a:sym typeface="Georgia"/>
              </a:rPr>
              <a:t>Data Scientist</a:t>
            </a:r>
          </a:p>
          <a:p>
            <a:r>
              <a:rPr lang="en-US" sz="1100" u="sng">
                <a:solidFill>
                  <a:schemeClr val="bg1"/>
                </a:solidFill>
                <a:latin typeface="Georgia"/>
                <a:ea typeface="Georgia"/>
                <a:cs typeface="Georgia"/>
                <a:sym typeface="Georgia"/>
              </a:rPr>
              <a:t>yutong0121@uchicago.edu</a:t>
            </a:r>
            <a:endParaRPr sz="1100" u="sng">
              <a:solidFill>
                <a:schemeClr val="bg1"/>
              </a:solidFill>
              <a:latin typeface="Georgia"/>
              <a:ea typeface="Georgia"/>
              <a:cs typeface="Georgia"/>
              <a:sym typeface="Georgia"/>
            </a:endParaRPr>
          </a:p>
        </p:txBody>
      </p:sp>
      <p:sp>
        <p:nvSpPr>
          <p:cNvPr id="3" name="文本框 2">
            <a:extLst>
              <a:ext uri="{FF2B5EF4-FFF2-40B4-BE49-F238E27FC236}">
                <a16:creationId xmlns:a16="http://schemas.microsoft.com/office/drawing/2014/main" id="{96035197-5929-8A0A-1F71-C9B3C96608BE}"/>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a:t>
            </a:r>
            <a:endParaRPr lang="zh-CN"/>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B7D6EF-E7B7-8F31-9B1C-AA9D02947914}"/>
              </a:ext>
            </a:extLst>
          </p:cNvPr>
          <p:cNvSpPr>
            <a:spLocks noGrp="1"/>
          </p:cNvSpPr>
          <p:nvPr>
            <p:ph type="title" idx="2"/>
          </p:nvPr>
        </p:nvSpPr>
        <p:spPr>
          <a:xfrm>
            <a:off x="2195919" y="1602618"/>
            <a:ext cx="1354184" cy="1341828"/>
          </a:xfrm>
        </p:spPr>
        <p:txBody>
          <a:bodyPr/>
          <a:lstStyle/>
          <a:p>
            <a:r>
              <a:rPr lang="en-US"/>
              <a:t>of</a:t>
            </a:r>
          </a:p>
        </p:txBody>
      </p:sp>
      <p:pic>
        <p:nvPicPr>
          <p:cNvPr id="6" name="Picture 5" descr="A graph of a customer's state distribution&#10;&#10;Description automatically generated">
            <a:extLst>
              <a:ext uri="{FF2B5EF4-FFF2-40B4-BE49-F238E27FC236}">
                <a16:creationId xmlns:a16="http://schemas.microsoft.com/office/drawing/2014/main" id="{AF559F07-E1D8-3DB3-1407-ABC11AC4B717}"/>
              </a:ext>
            </a:extLst>
          </p:cNvPr>
          <p:cNvPicPr>
            <a:picLocks noChangeAspect="1"/>
          </p:cNvPicPr>
          <p:nvPr/>
        </p:nvPicPr>
        <p:blipFill rotWithShape="1">
          <a:blip r:embed="rId3"/>
          <a:srcRect l="2849" r="1513"/>
          <a:stretch/>
        </p:blipFill>
        <p:spPr>
          <a:xfrm>
            <a:off x="227086" y="915583"/>
            <a:ext cx="5151802" cy="2039254"/>
          </a:xfrm>
          <a:prstGeom prst="rect">
            <a:avLst/>
          </a:prstGeom>
        </p:spPr>
      </p:pic>
      <p:pic>
        <p:nvPicPr>
          <p:cNvPr id="7" name="Picture 2">
            <a:extLst>
              <a:ext uri="{FF2B5EF4-FFF2-40B4-BE49-F238E27FC236}">
                <a16:creationId xmlns:a16="http://schemas.microsoft.com/office/drawing/2014/main" id="{725EBF85-A6B2-254D-83B9-1D915D5DD0B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 t="53620" r="-2226" b="447"/>
          <a:stretch/>
        </p:blipFill>
        <p:spPr bwMode="auto">
          <a:xfrm>
            <a:off x="227086" y="2948951"/>
            <a:ext cx="5269706" cy="19900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57A19FB-1C17-304E-86D6-EB46D6814550}"/>
              </a:ext>
            </a:extLst>
          </p:cNvPr>
          <p:cNvSpPr txBox="1"/>
          <p:nvPr/>
        </p:nvSpPr>
        <p:spPr>
          <a:xfrm>
            <a:off x="227086" y="175372"/>
            <a:ext cx="8102142" cy="707886"/>
          </a:xfrm>
          <a:prstGeom prst="rect">
            <a:avLst/>
          </a:prstGeom>
          <a:noFill/>
        </p:spPr>
        <p:txBody>
          <a:bodyPr wrap="square" rtlCol="0">
            <a:spAutoFit/>
          </a:bodyPr>
          <a:lstStyle/>
          <a:p>
            <a:r>
              <a:rPr lang="en-US" sz="2000" b="1" i="0">
                <a:solidFill>
                  <a:schemeClr val="bg1"/>
                </a:solidFill>
                <a:effectLst/>
                <a:latin typeface="Arial" panose="020B0604020202020204" pitchFamily="34" charset="0"/>
                <a:cs typeface="Arial" panose="020B0604020202020204" pitchFamily="34" charset="0"/>
              </a:rPr>
              <a:t>SP's massive share of both sellers and customers makes it the heart of our commercial operations</a:t>
            </a:r>
            <a:endParaRPr lang="en-US" sz="1600" b="1">
              <a:solidFill>
                <a:schemeClr val="bg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3A1FF805-C7E3-92EA-4D7A-459775F13E6C}"/>
              </a:ext>
            </a:extLst>
          </p:cNvPr>
          <p:cNvSpPr/>
          <p:nvPr/>
        </p:nvSpPr>
        <p:spPr>
          <a:xfrm>
            <a:off x="475409" y="3105490"/>
            <a:ext cx="397033" cy="434037"/>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F97059FE-5228-A6B2-1B99-33221B9CC9D6}"/>
              </a:ext>
            </a:extLst>
          </p:cNvPr>
          <p:cNvSpPr/>
          <p:nvPr/>
        </p:nvSpPr>
        <p:spPr>
          <a:xfrm>
            <a:off x="483629" y="1055557"/>
            <a:ext cx="397033" cy="434037"/>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7E1A7B3A-D4F3-3DD8-7B97-7A0FFB366907}"/>
              </a:ext>
            </a:extLst>
          </p:cNvPr>
          <p:cNvSpPr txBox="1"/>
          <p:nvPr/>
        </p:nvSpPr>
        <p:spPr>
          <a:xfrm>
            <a:off x="5642197" y="3056663"/>
            <a:ext cx="3274718" cy="1600438"/>
          </a:xfrm>
          <a:prstGeom prst="rect">
            <a:avLst/>
          </a:prstGeom>
          <a:solidFill>
            <a:schemeClr val="accent2"/>
          </a:solidFill>
        </p:spPr>
        <p:txBody>
          <a:bodyPr wrap="square" rtlCol="0">
            <a:spAutoFit/>
          </a:bodyPr>
          <a:lstStyle/>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71% of Sellers Based in SP</a:t>
            </a:r>
          </a:p>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Robust supply chain efficiencies and Potential for logistics optimization</a:t>
            </a:r>
          </a:p>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Leverage SP's dense market to pilot new services due to the high engagement potential</a:t>
            </a:r>
          </a:p>
        </p:txBody>
      </p:sp>
      <p:sp>
        <p:nvSpPr>
          <p:cNvPr id="19" name="TextBox 18">
            <a:extLst>
              <a:ext uri="{FF2B5EF4-FFF2-40B4-BE49-F238E27FC236}">
                <a16:creationId xmlns:a16="http://schemas.microsoft.com/office/drawing/2014/main" id="{02F42A2E-126E-9644-A4CF-05ACDA8C3E10}"/>
              </a:ext>
            </a:extLst>
          </p:cNvPr>
          <p:cNvSpPr txBox="1"/>
          <p:nvPr/>
        </p:nvSpPr>
        <p:spPr>
          <a:xfrm>
            <a:off x="5635431" y="1055557"/>
            <a:ext cx="3274717" cy="1169551"/>
          </a:xfrm>
          <a:prstGeom prst="rect">
            <a:avLst/>
          </a:prstGeom>
          <a:solidFill>
            <a:schemeClr val="accent2"/>
          </a:solidFill>
        </p:spPr>
        <p:txBody>
          <a:bodyPr wrap="square" rtlCol="0">
            <a:spAutoFit/>
          </a:bodyPr>
          <a:lstStyle/>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42% of Customers Based in SP</a:t>
            </a:r>
          </a:p>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Strong regional presence</a:t>
            </a:r>
          </a:p>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Explore regional preferences to tailor marketing strategies and product development</a:t>
            </a:r>
          </a:p>
        </p:txBody>
      </p:sp>
      <p:sp>
        <p:nvSpPr>
          <p:cNvPr id="4" name="文本框 3">
            <a:extLst>
              <a:ext uri="{FF2B5EF4-FFF2-40B4-BE49-F238E27FC236}">
                <a16:creationId xmlns:a16="http://schemas.microsoft.com/office/drawing/2014/main" id="{7297B5F5-4665-7366-A046-D45FF8A7C154}"/>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0</a:t>
            </a:r>
          </a:p>
        </p:txBody>
      </p:sp>
    </p:spTree>
    <p:extLst>
      <p:ext uri="{BB962C8B-B14F-4D97-AF65-F5344CB8AC3E}">
        <p14:creationId xmlns:p14="http://schemas.microsoft.com/office/powerpoint/2010/main" val="1854151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85F242-D0F0-F342-B3D5-D5260D67243E}"/>
              </a:ext>
            </a:extLst>
          </p:cNvPr>
          <p:cNvPicPr>
            <a:picLocks noChangeAspect="1"/>
          </p:cNvPicPr>
          <p:nvPr/>
        </p:nvPicPr>
        <p:blipFill>
          <a:blip r:embed="rId3"/>
          <a:stretch>
            <a:fillRect/>
          </a:stretch>
        </p:blipFill>
        <p:spPr>
          <a:xfrm>
            <a:off x="259711" y="2362032"/>
            <a:ext cx="6360836" cy="2635496"/>
          </a:xfrm>
          <a:prstGeom prst="rect">
            <a:avLst/>
          </a:prstGeom>
        </p:spPr>
      </p:pic>
      <p:pic>
        <p:nvPicPr>
          <p:cNvPr id="7" name="Picture 6" descr="A graph with a line and a line&#10;&#10;Description automatically generated with medium confidence">
            <a:extLst>
              <a:ext uri="{FF2B5EF4-FFF2-40B4-BE49-F238E27FC236}">
                <a16:creationId xmlns:a16="http://schemas.microsoft.com/office/drawing/2014/main" id="{A335A47E-D40E-3976-A3D7-5BC70EB3C295}"/>
              </a:ext>
            </a:extLst>
          </p:cNvPr>
          <p:cNvPicPr>
            <a:picLocks noChangeAspect="1"/>
          </p:cNvPicPr>
          <p:nvPr/>
        </p:nvPicPr>
        <p:blipFill>
          <a:blip r:embed="rId4"/>
          <a:stretch>
            <a:fillRect/>
          </a:stretch>
        </p:blipFill>
        <p:spPr>
          <a:xfrm>
            <a:off x="268027" y="280943"/>
            <a:ext cx="6352520" cy="1829868"/>
          </a:xfrm>
          <a:prstGeom prst="rect">
            <a:avLst/>
          </a:prstGeom>
        </p:spPr>
      </p:pic>
      <p:sp>
        <p:nvSpPr>
          <p:cNvPr id="6" name="TextBox 5">
            <a:extLst>
              <a:ext uri="{FF2B5EF4-FFF2-40B4-BE49-F238E27FC236}">
                <a16:creationId xmlns:a16="http://schemas.microsoft.com/office/drawing/2014/main" id="{91BD71F9-D9E6-D240-AB34-39F192348E5E}"/>
              </a:ext>
            </a:extLst>
          </p:cNvPr>
          <p:cNvSpPr txBox="1"/>
          <p:nvPr/>
        </p:nvSpPr>
        <p:spPr>
          <a:xfrm>
            <a:off x="6815637" y="407067"/>
            <a:ext cx="2523453" cy="707886"/>
          </a:xfrm>
          <a:prstGeom prst="rect">
            <a:avLst/>
          </a:prstGeom>
          <a:noFill/>
        </p:spPr>
        <p:txBody>
          <a:bodyPr wrap="square" rtlCol="0">
            <a:spAutoFit/>
          </a:bodyPr>
          <a:lstStyle/>
          <a:p>
            <a:r>
              <a:rPr lang="en-US" sz="2000" b="1">
                <a:solidFill>
                  <a:schemeClr val="bg1"/>
                </a:solidFill>
                <a:latin typeface="Arial" panose="020B0604020202020204" pitchFamily="34" charset="0"/>
                <a:cs typeface="Arial" panose="020B0604020202020204" pitchFamily="34" charset="0"/>
              </a:rPr>
              <a:t>Evolution of Orders Overtime</a:t>
            </a:r>
          </a:p>
        </p:txBody>
      </p:sp>
      <p:sp>
        <p:nvSpPr>
          <p:cNvPr id="8" name="TextBox 7">
            <a:extLst>
              <a:ext uri="{FF2B5EF4-FFF2-40B4-BE49-F238E27FC236}">
                <a16:creationId xmlns:a16="http://schemas.microsoft.com/office/drawing/2014/main" id="{76ECE551-42A9-9746-9855-5F32A0A00559}"/>
              </a:ext>
            </a:extLst>
          </p:cNvPr>
          <p:cNvSpPr txBox="1"/>
          <p:nvPr/>
        </p:nvSpPr>
        <p:spPr>
          <a:xfrm>
            <a:off x="6815637" y="1270575"/>
            <a:ext cx="2068652" cy="3539430"/>
          </a:xfrm>
          <a:prstGeom prst="rect">
            <a:avLst/>
          </a:prstGeom>
          <a:solidFill>
            <a:schemeClr val="accent2"/>
          </a:solidFill>
        </p:spPr>
        <p:txBody>
          <a:bodyPr wrap="square" rtlCol="0">
            <a:spAutoFit/>
          </a:bodyPr>
          <a:lstStyle/>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Differentiated growth patterns and the market's regional diversity</a:t>
            </a:r>
          </a:p>
          <a:p>
            <a:pPr marL="285750" indent="-285750">
              <a:buClr>
                <a:schemeClr val="bg1"/>
              </a:buClr>
              <a:buFont typeface="Arial" panose="020B0604020202020204" pitchFamily="34" charset="0"/>
              <a:buChar char="•"/>
            </a:pPr>
            <a:endParaRPr lang="en-US" b="1">
              <a:solidFill>
                <a:schemeClr val="bg1"/>
              </a:solidFill>
              <a:latin typeface="Arial" panose="020B0604020202020204" pitchFamily="34" charset="0"/>
              <a:cs typeface="Arial" panose="020B0604020202020204" pitchFamily="34" charset="0"/>
            </a:endParaRPr>
          </a:p>
          <a:p>
            <a:pPr marL="285750" indent="-285750">
              <a:buClr>
                <a:schemeClr val="bg1"/>
              </a:buClr>
              <a:buFont typeface="Arial" panose="020B0604020202020204" pitchFamily="34" charset="0"/>
              <a:buChar char="•"/>
            </a:pPr>
            <a:r>
              <a:rPr lang="en-US" b="1">
                <a:solidFill>
                  <a:schemeClr val="bg1"/>
                </a:solidFill>
                <a:latin typeface="Arial" panose="020B0604020202020204" pitchFamily="34" charset="0"/>
                <a:cs typeface="Arial" panose="020B0604020202020204" pitchFamily="34" charset="0"/>
              </a:rPr>
              <a:t>The varied growth rates across different regions underscore the necessity for region-specific strategies to capitalize on high-growth areas and support lagging regions</a:t>
            </a:r>
          </a:p>
        </p:txBody>
      </p:sp>
      <p:sp>
        <p:nvSpPr>
          <p:cNvPr id="3" name="文本框 2">
            <a:extLst>
              <a:ext uri="{FF2B5EF4-FFF2-40B4-BE49-F238E27FC236}">
                <a16:creationId xmlns:a16="http://schemas.microsoft.com/office/drawing/2014/main" id="{ADF51859-CD03-B422-E6BF-4A6AA151F958}"/>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1</a:t>
            </a:r>
          </a:p>
        </p:txBody>
      </p:sp>
    </p:spTree>
    <p:extLst>
      <p:ext uri="{BB962C8B-B14F-4D97-AF65-F5344CB8AC3E}">
        <p14:creationId xmlns:p14="http://schemas.microsoft.com/office/powerpoint/2010/main" val="2106829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53B621D-69ED-E842-0E17-8D09508AD7B5}"/>
              </a:ext>
            </a:extLst>
          </p:cNvPr>
          <p:cNvGraphicFramePr>
            <a:graphicFrameLocks noChangeAspect="1"/>
          </p:cNvGraphicFramePr>
          <p:nvPr>
            <p:custDataLst>
              <p:tags r:id="rId1"/>
            </p:custDataLst>
            <p:extLst>
              <p:ext uri="{D42A27DB-BD31-4B8C-83A1-F6EECF244321}">
                <p14:modId xmlns:p14="http://schemas.microsoft.com/office/powerpoint/2010/main" val="297427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4" name="think-cell data - do not delete" hidden="1">
                        <a:extLst>
                          <a:ext uri="{FF2B5EF4-FFF2-40B4-BE49-F238E27FC236}">
                            <a16:creationId xmlns:a16="http://schemas.microsoft.com/office/drawing/2014/main" id="{953B621D-69ED-E842-0E17-8D09508AD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0" name="Google Shape;900;p67"/>
          <p:cNvSpPr txBox="1">
            <a:spLocks noGrp="1"/>
          </p:cNvSpPr>
          <p:nvPr>
            <p:ph type="title"/>
          </p:nvPr>
        </p:nvSpPr>
        <p:spPr>
          <a:xfrm>
            <a:off x="3859161" y="2457944"/>
            <a:ext cx="4899075" cy="1457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3600"/>
              <a:t>Analysis</a:t>
            </a:r>
            <a:r>
              <a:rPr lang="en-US" sz="3600"/>
              <a:t> &amp; Recommendations</a:t>
            </a:r>
          </a:p>
        </p:txBody>
      </p:sp>
      <p:pic>
        <p:nvPicPr>
          <p:cNvPr id="902" name="Google Shape;902;p67"/>
          <p:cNvPicPr preferRelativeResize="0"/>
          <p:nvPr/>
        </p:nvPicPr>
        <p:blipFill rotWithShape="1">
          <a:blip r:embed="rId6">
            <a:alphaModFix/>
          </a:blip>
          <a:srcRect l="8581" r="8022"/>
          <a:stretch/>
        </p:blipFill>
        <p:spPr>
          <a:xfrm>
            <a:off x="134175" y="864850"/>
            <a:ext cx="4384224" cy="3739251"/>
          </a:xfrm>
          <a:prstGeom prst="rect">
            <a:avLst/>
          </a:prstGeom>
          <a:noFill/>
          <a:ln>
            <a:noFill/>
          </a:ln>
        </p:spPr>
      </p:pic>
      <p:sp>
        <p:nvSpPr>
          <p:cNvPr id="903" name="Google Shape;903;p67"/>
          <p:cNvSpPr txBox="1">
            <a:spLocks noGrp="1"/>
          </p:cNvSpPr>
          <p:nvPr>
            <p:ph type="title" idx="2"/>
          </p:nvPr>
        </p:nvSpPr>
        <p:spPr>
          <a:xfrm>
            <a:off x="5782950" y="1027350"/>
            <a:ext cx="1252800" cy="1251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5</a:t>
            </a:r>
            <a:endParaRPr/>
          </a:p>
        </p:txBody>
      </p:sp>
      <p:sp>
        <p:nvSpPr>
          <p:cNvPr id="3" name="文本框 2">
            <a:extLst>
              <a:ext uri="{FF2B5EF4-FFF2-40B4-BE49-F238E27FC236}">
                <a16:creationId xmlns:a16="http://schemas.microsoft.com/office/drawing/2014/main" id="{3B18093D-1D44-B51A-A3E5-4DF76176146E}"/>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2</a:t>
            </a:r>
          </a:p>
        </p:txBody>
      </p:sp>
    </p:spTree>
    <p:extLst>
      <p:ext uri="{BB962C8B-B14F-4D97-AF65-F5344CB8AC3E}">
        <p14:creationId xmlns:p14="http://schemas.microsoft.com/office/powerpoint/2010/main" val="4076952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CBAABCB-5A89-C239-966A-D578F69CFA99}"/>
              </a:ext>
            </a:extLst>
          </p:cNvPr>
          <p:cNvPicPr>
            <a:picLocks noChangeAspect="1"/>
          </p:cNvPicPr>
          <p:nvPr/>
        </p:nvPicPr>
        <p:blipFill>
          <a:blip r:embed="rId3"/>
          <a:stretch>
            <a:fillRect/>
          </a:stretch>
        </p:blipFill>
        <p:spPr>
          <a:xfrm>
            <a:off x="4042399" y="3478357"/>
            <a:ext cx="4734847" cy="1029610"/>
          </a:xfrm>
          <a:prstGeom prst="rect">
            <a:avLst/>
          </a:prstGeom>
        </p:spPr>
      </p:pic>
      <p:sp>
        <p:nvSpPr>
          <p:cNvPr id="13" name="TextBox 12">
            <a:extLst>
              <a:ext uri="{FF2B5EF4-FFF2-40B4-BE49-F238E27FC236}">
                <a16:creationId xmlns:a16="http://schemas.microsoft.com/office/drawing/2014/main" id="{7715ACD5-CC6E-0128-E05F-32A80B4E06A4}"/>
              </a:ext>
            </a:extLst>
          </p:cNvPr>
          <p:cNvSpPr txBox="1"/>
          <p:nvPr/>
        </p:nvSpPr>
        <p:spPr>
          <a:xfrm>
            <a:off x="340852" y="146491"/>
            <a:ext cx="4006735" cy="584775"/>
          </a:xfrm>
          <a:prstGeom prst="rect">
            <a:avLst/>
          </a:prstGeom>
          <a:noFill/>
        </p:spPr>
        <p:txBody>
          <a:bodyPr wrap="square" rtlCol="0">
            <a:spAutoFit/>
          </a:bodyPr>
          <a:lstStyle/>
          <a:p>
            <a:r>
              <a:rPr lang="en-US" altLang="zh-CN" sz="3200" b="1">
                <a:solidFill>
                  <a:schemeClr val="bg1"/>
                </a:solidFill>
                <a:latin typeface="DM Sans" pitchFamily="2" charset="77"/>
              </a:rPr>
              <a:t>RFM</a:t>
            </a:r>
            <a:r>
              <a:rPr lang="zh-CN" altLang="en-US" sz="3200" b="1">
                <a:solidFill>
                  <a:schemeClr val="bg1"/>
                </a:solidFill>
                <a:latin typeface="DM Sans" pitchFamily="2" charset="77"/>
              </a:rPr>
              <a:t> </a:t>
            </a:r>
            <a:r>
              <a:rPr lang="en-US" altLang="zh-CN" sz="3200" b="1">
                <a:solidFill>
                  <a:schemeClr val="bg1"/>
                </a:solidFill>
                <a:latin typeface="DM Sans" pitchFamily="2" charset="77"/>
              </a:rPr>
              <a:t>Analysis</a:t>
            </a:r>
            <a:endParaRPr lang="en-US" sz="3200" b="1">
              <a:solidFill>
                <a:schemeClr val="bg1"/>
              </a:solidFill>
              <a:latin typeface="DM Sans" pitchFamily="2" charset="77"/>
            </a:endParaRPr>
          </a:p>
        </p:txBody>
      </p:sp>
      <p:sp>
        <p:nvSpPr>
          <p:cNvPr id="20" name="Google Shape;860;p65">
            <a:extLst>
              <a:ext uri="{FF2B5EF4-FFF2-40B4-BE49-F238E27FC236}">
                <a16:creationId xmlns:a16="http://schemas.microsoft.com/office/drawing/2014/main" id="{C8199E1C-7530-9E7B-C2DF-9BD026C16D73}"/>
              </a:ext>
            </a:extLst>
          </p:cNvPr>
          <p:cNvSpPr txBox="1"/>
          <p:nvPr/>
        </p:nvSpPr>
        <p:spPr>
          <a:xfrm>
            <a:off x="340852" y="2653939"/>
            <a:ext cx="788752" cy="527339"/>
          </a:xfrm>
          <a:prstGeom prst="rect">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1000" b="1">
                <a:solidFill>
                  <a:srgbClr val="A5004C"/>
                </a:solidFill>
                <a:latin typeface="DM Sans"/>
                <a:ea typeface="DM Sans"/>
                <a:cs typeface="DM Sans"/>
                <a:sym typeface="DM Sans"/>
              </a:rPr>
              <a:t>Recency</a:t>
            </a:r>
            <a:endParaRPr sz="1000" b="1">
              <a:solidFill>
                <a:srgbClr val="A5004C"/>
              </a:solidFill>
              <a:latin typeface="DM Sans"/>
              <a:ea typeface="DM Sans"/>
              <a:cs typeface="DM Sans"/>
              <a:sym typeface="DM Sans"/>
            </a:endParaRPr>
          </a:p>
        </p:txBody>
      </p:sp>
      <p:sp>
        <p:nvSpPr>
          <p:cNvPr id="21" name="Google Shape;861;p65">
            <a:extLst>
              <a:ext uri="{FF2B5EF4-FFF2-40B4-BE49-F238E27FC236}">
                <a16:creationId xmlns:a16="http://schemas.microsoft.com/office/drawing/2014/main" id="{738BAF35-02E5-14B2-4804-21CB001BE7CE}"/>
              </a:ext>
            </a:extLst>
          </p:cNvPr>
          <p:cNvSpPr/>
          <p:nvPr/>
        </p:nvSpPr>
        <p:spPr>
          <a:xfrm>
            <a:off x="1585678" y="1158131"/>
            <a:ext cx="864176" cy="959026"/>
          </a:xfrm>
          <a:prstGeom prst="rect">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1200" b="1">
                <a:solidFill>
                  <a:srgbClr val="A5004C"/>
                </a:solidFill>
                <a:latin typeface="DM Sans"/>
              </a:rPr>
              <a:t>RFM</a:t>
            </a:r>
            <a:r>
              <a:rPr lang="zh-CN" altLang="en-US" sz="1200" b="1">
                <a:solidFill>
                  <a:srgbClr val="A5004C"/>
                </a:solidFill>
                <a:latin typeface="DM Sans"/>
              </a:rPr>
              <a:t> </a:t>
            </a:r>
            <a:r>
              <a:rPr lang="en-US" altLang="zh-CN" sz="1200" b="1">
                <a:solidFill>
                  <a:srgbClr val="A5004C"/>
                </a:solidFill>
                <a:latin typeface="DM Sans"/>
              </a:rPr>
              <a:t>Analysis</a:t>
            </a:r>
            <a:endParaRPr sz="1200" b="1">
              <a:solidFill>
                <a:srgbClr val="A5004C"/>
              </a:solidFill>
              <a:latin typeface="DM Sans"/>
            </a:endParaRPr>
          </a:p>
        </p:txBody>
      </p:sp>
      <p:sp>
        <p:nvSpPr>
          <p:cNvPr id="22" name="Google Shape;862;p65">
            <a:extLst>
              <a:ext uri="{FF2B5EF4-FFF2-40B4-BE49-F238E27FC236}">
                <a16:creationId xmlns:a16="http://schemas.microsoft.com/office/drawing/2014/main" id="{1A1F7654-C841-30F3-0D65-A12497BD254A}"/>
              </a:ext>
            </a:extLst>
          </p:cNvPr>
          <p:cNvSpPr txBox="1"/>
          <p:nvPr/>
        </p:nvSpPr>
        <p:spPr>
          <a:xfrm>
            <a:off x="1548869" y="2671155"/>
            <a:ext cx="937795" cy="527339"/>
          </a:xfrm>
          <a:prstGeom prst="rect">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1000" b="1">
                <a:solidFill>
                  <a:srgbClr val="A5004C"/>
                </a:solidFill>
                <a:latin typeface="DM Sans"/>
                <a:ea typeface="DM Sans"/>
                <a:cs typeface="DM Sans"/>
                <a:sym typeface="DM Sans"/>
              </a:rPr>
              <a:t>Frequency</a:t>
            </a:r>
            <a:endParaRPr sz="1000" b="1">
              <a:solidFill>
                <a:srgbClr val="A5004C"/>
              </a:solidFill>
              <a:latin typeface="DM Sans"/>
              <a:ea typeface="DM Sans"/>
              <a:cs typeface="DM Sans"/>
              <a:sym typeface="DM Sans"/>
            </a:endParaRPr>
          </a:p>
        </p:txBody>
      </p:sp>
      <p:sp>
        <p:nvSpPr>
          <p:cNvPr id="23" name="Google Shape;863;p65">
            <a:extLst>
              <a:ext uri="{FF2B5EF4-FFF2-40B4-BE49-F238E27FC236}">
                <a16:creationId xmlns:a16="http://schemas.microsoft.com/office/drawing/2014/main" id="{365A6EDF-2419-6C95-956A-BAA3927B0607}"/>
              </a:ext>
            </a:extLst>
          </p:cNvPr>
          <p:cNvSpPr txBox="1"/>
          <p:nvPr/>
        </p:nvSpPr>
        <p:spPr>
          <a:xfrm>
            <a:off x="2795634" y="2653939"/>
            <a:ext cx="937795" cy="527339"/>
          </a:xfrm>
          <a:prstGeom prst="rect">
            <a:avLst/>
          </a:prstGeom>
          <a:solidFill>
            <a:srgbClr val="FFF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1000" b="1">
                <a:solidFill>
                  <a:srgbClr val="A5004C"/>
                </a:solidFill>
                <a:latin typeface="DM Sans"/>
                <a:ea typeface="DM Sans"/>
                <a:cs typeface="DM Sans"/>
                <a:sym typeface="DM Sans"/>
              </a:rPr>
              <a:t>Monetary</a:t>
            </a:r>
            <a:r>
              <a:rPr lang="zh-CN" altLang="en-US" sz="1000" b="1">
                <a:solidFill>
                  <a:srgbClr val="A5004C"/>
                </a:solidFill>
                <a:latin typeface="DM Sans"/>
                <a:ea typeface="DM Sans"/>
                <a:cs typeface="DM Sans"/>
                <a:sym typeface="DM Sans"/>
              </a:rPr>
              <a:t> </a:t>
            </a:r>
            <a:r>
              <a:rPr lang="en-US" altLang="zh-CN" sz="1000" b="1">
                <a:solidFill>
                  <a:srgbClr val="A5004C"/>
                </a:solidFill>
                <a:latin typeface="DM Sans"/>
                <a:ea typeface="DM Sans"/>
                <a:cs typeface="DM Sans"/>
                <a:sym typeface="DM Sans"/>
              </a:rPr>
              <a:t>Value</a:t>
            </a:r>
            <a:endParaRPr sz="1000" b="1">
              <a:solidFill>
                <a:srgbClr val="A5004C"/>
              </a:solidFill>
              <a:latin typeface="DM Sans"/>
              <a:ea typeface="DM Sans"/>
              <a:cs typeface="DM Sans"/>
              <a:sym typeface="DM Sans"/>
            </a:endParaRPr>
          </a:p>
        </p:txBody>
      </p:sp>
      <p:cxnSp>
        <p:nvCxnSpPr>
          <p:cNvPr id="24" name="Google Shape;864;p65">
            <a:extLst>
              <a:ext uri="{FF2B5EF4-FFF2-40B4-BE49-F238E27FC236}">
                <a16:creationId xmlns:a16="http://schemas.microsoft.com/office/drawing/2014/main" id="{787868B9-500D-44D9-538A-55F8C77172A1}"/>
              </a:ext>
            </a:extLst>
          </p:cNvPr>
          <p:cNvCxnSpPr>
            <a:cxnSpLocks/>
            <a:stCxn id="21" idx="1"/>
            <a:endCxn id="20" idx="0"/>
          </p:cNvCxnSpPr>
          <p:nvPr/>
        </p:nvCxnSpPr>
        <p:spPr>
          <a:xfrm rot="10800000" flipV="1">
            <a:off x="735228" y="1637643"/>
            <a:ext cx="850450" cy="1016295"/>
          </a:xfrm>
          <a:prstGeom prst="bentConnector2">
            <a:avLst/>
          </a:prstGeom>
          <a:noFill/>
          <a:ln w="9525" cap="flat" cmpd="sng">
            <a:solidFill>
              <a:schemeClr val="lt1"/>
            </a:solidFill>
            <a:prstDash val="solid"/>
            <a:round/>
            <a:headEnd type="none" w="med" len="med"/>
            <a:tailEnd type="none" w="med" len="med"/>
          </a:ln>
        </p:spPr>
      </p:cxnSp>
      <p:cxnSp>
        <p:nvCxnSpPr>
          <p:cNvPr id="25" name="Google Shape;865;p65">
            <a:extLst>
              <a:ext uri="{FF2B5EF4-FFF2-40B4-BE49-F238E27FC236}">
                <a16:creationId xmlns:a16="http://schemas.microsoft.com/office/drawing/2014/main" id="{396E3C57-218D-7A71-48DD-62AC72577A3E}"/>
              </a:ext>
            </a:extLst>
          </p:cNvPr>
          <p:cNvCxnSpPr>
            <a:cxnSpLocks/>
            <a:stCxn id="21" idx="3"/>
            <a:endCxn id="23" idx="0"/>
          </p:cNvCxnSpPr>
          <p:nvPr/>
        </p:nvCxnSpPr>
        <p:spPr>
          <a:xfrm>
            <a:off x="2449854" y="1637644"/>
            <a:ext cx="814678" cy="1016295"/>
          </a:xfrm>
          <a:prstGeom prst="bentConnector2">
            <a:avLst/>
          </a:prstGeom>
          <a:noFill/>
          <a:ln w="9525" cap="flat" cmpd="sng">
            <a:solidFill>
              <a:schemeClr val="lt1"/>
            </a:solidFill>
            <a:prstDash val="solid"/>
            <a:round/>
            <a:headEnd type="none" w="med" len="med"/>
            <a:tailEnd type="none" w="med" len="med"/>
          </a:ln>
        </p:spPr>
      </p:cxnSp>
      <p:cxnSp>
        <p:nvCxnSpPr>
          <p:cNvPr id="26" name="Google Shape;866;p65">
            <a:extLst>
              <a:ext uri="{FF2B5EF4-FFF2-40B4-BE49-F238E27FC236}">
                <a16:creationId xmlns:a16="http://schemas.microsoft.com/office/drawing/2014/main" id="{33292DB5-410C-0B11-C805-6682C63348AF}"/>
              </a:ext>
            </a:extLst>
          </p:cNvPr>
          <p:cNvCxnSpPr>
            <a:cxnSpLocks/>
            <a:stCxn id="21" idx="2"/>
            <a:endCxn id="22" idx="0"/>
          </p:cNvCxnSpPr>
          <p:nvPr/>
        </p:nvCxnSpPr>
        <p:spPr>
          <a:xfrm>
            <a:off x="2017766" y="2117157"/>
            <a:ext cx="1" cy="553998"/>
          </a:xfrm>
          <a:prstGeom prst="straightConnector1">
            <a:avLst/>
          </a:prstGeom>
          <a:noFill/>
          <a:ln w="9525" cap="flat" cmpd="sng">
            <a:solidFill>
              <a:schemeClr val="lt1"/>
            </a:solidFill>
            <a:prstDash val="solid"/>
            <a:round/>
            <a:headEnd type="none" w="med" len="med"/>
            <a:tailEnd type="none" w="med" len="med"/>
          </a:ln>
        </p:spPr>
      </p:cxnSp>
      <p:cxnSp>
        <p:nvCxnSpPr>
          <p:cNvPr id="27" name="Google Shape;867;p65">
            <a:extLst>
              <a:ext uri="{FF2B5EF4-FFF2-40B4-BE49-F238E27FC236}">
                <a16:creationId xmlns:a16="http://schemas.microsoft.com/office/drawing/2014/main" id="{16C2426E-11C0-809B-9E7B-07BE6E27ECF2}"/>
              </a:ext>
            </a:extLst>
          </p:cNvPr>
          <p:cNvCxnSpPr>
            <a:cxnSpLocks/>
            <a:stCxn id="20" idx="2"/>
            <a:endCxn id="102" idx="0"/>
          </p:cNvCxnSpPr>
          <p:nvPr/>
        </p:nvCxnSpPr>
        <p:spPr>
          <a:xfrm>
            <a:off x="735228" y="3181278"/>
            <a:ext cx="2634" cy="448903"/>
          </a:xfrm>
          <a:prstGeom prst="straightConnector1">
            <a:avLst/>
          </a:prstGeom>
          <a:noFill/>
          <a:ln w="9525" cap="flat" cmpd="sng">
            <a:solidFill>
              <a:schemeClr val="lt1"/>
            </a:solidFill>
            <a:prstDash val="solid"/>
            <a:round/>
            <a:headEnd type="none" w="med" len="med"/>
            <a:tailEnd type="none" w="med" len="med"/>
          </a:ln>
        </p:spPr>
      </p:cxnSp>
      <p:cxnSp>
        <p:nvCxnSpPr>
          <p:cNvPr id="28" name="Google Shape;868;p65">
            <a:extLst>
              <a:ext uri="{FF2B5EF4-FFF2-40B4-BE49-F238E27FC236}">
                <a16:creationId xmlns:a16="http://schemas.microsoft.com/office/drawing/2014/main" id="{CDE619CA-97E5-3E6F-7A6E-549380FF9732}"/>
              </a:ext>
            </a:extLst>
          </p:cNvPr>
          <p:cNvCxnSpPr>
            <a:cxnSpLocks/>
            <a:stCxn id="22" idx="2"/>
            <a:endCxn id="103" idx="0"/>
          </p:cNvCxnSpPr>
          <p:nvPr/>
        </p:nvCxnSpPr>
        <p:spPr>
          <a:xfrm>
            <a:off x="2017767" y="3198494"/>
            <a:ext cx="6370" cy="488535"/>
          </a:xfrm>
          <a:prstGeom prst="straightConnector1">
            <a:avLst/>
          </a:prstGeom>
          <a:noFill/>
          <a:ln w="9525" cap="flat" cmpd="sng">
            <a:solidFill>
              <a:schemeClr val="lt1"/>
            </a:solidFill>
            <a:prstDash val="solid"/>
            <a:round/>
            <a:headEnd type="none" w="med" len="med"/>
            <a:tailEnd type="none" w="med" len="med"/>
          </a:ln>
        </p:spPr>
      </p:cxnSp>
      <p:cxnSp>
        <p:nvCxnSpPr>
          <p:cNvPr id="29" name="Google Shape;869;p65">
            <a:extLst>
              <a:ext uri="{FF2B5EF4-FFF2-40B4-BE49-F238E27FC236}">
                <a16:creationId xmlns:a16="http://schemas.microsoft.com/office/drawing/2014/main" id="{66A8A9AF-67D9-7425-42BA-84657851C990}"/>
              </a:ext>
            </a:extLst>
          </p:cNvPr>
          <p:cNvCxnSpPr>
            <a:cxnSpLocks/>
            <a:stCxn id="23" idx="2"/>
            <a:endCxn id="104" idx="0"/>
          </p:cNvCxnSpPr>
          <p:nvPr/>
        </p:nvCxnSpPr>
        <p:spPr>
          <a:xfrm flipH="1">
            <a:off x="3264531" y="3181278"/>
            <a:ext cx="1" cy="516545"/>
          </a:xfrm>
          <a:prstGeom prst="straightConnector1">
            <a:avLst/>
          </a:prstGeom>
          <a:noFill/>
          <a:ln w="9525" cap="flat" cmpd="sng">
            <a:solidFill>
              <a:schemeClr val="lt1"/>
            </a:solidFill>
            <a:prstDash val="solid"/>
            <a:round/>
            <a:headEnd type="none" w="med" len="med"/>
            <a:tailEnd type="none" w="med" len="med"/>
          </a:ln>
        </p:spPr>
      </p:cxnSp>
      <p:sp>
        <p:nvSpPr>
          <p:cNvPr id="102" name="TextBox 101">
            <a:extLst>
              <a:ext uri="{FF2B5EF4-FFF2-40B4-BE49-F238E27FC236}">
                <a16:creationId xmlns:a16="http://schemas.microsoft.com/office/drawing/2014/main" id="{226C5EED-22AF-952D-D8FA-83B9255E7DDE}"/>
              </a:ext>
            </a:extLst>
          </p:cNvPr>
          <p:cNvSpPr txBox="1"/>
          <p:nvPr/>
        </p:nvSpPr>
        <p:spPr>
          <a:xfrm>
            <a:off x="180909" y="3630181"/>
            <a:ext cx="1113906" cy="553998"/>
          </a:xfrm>
          <a:prstGeom prst="rect">
            <a:avLst/>
          </a:prstGeom>
          <a:noFill/>
        </p:spPr>
        <p:txBody>
          <a:bodyPr wrap="square" rtlCol="0">
            <a:spAutoFit/>
          </a:bodyPr>
          <a:lstStyle/>
          <a:p>
            <a:pPr algn="ctr"/>
            <a:r>
              <a:rPr lang="en-US" altLang="zh-CN" sz="1000" b="1">
                <a:solidFill>
                  <a:schemeClr val="bg1"/>
                </a:solidFill>
                <a:latin typeface="DM Sans"/>
              </a:rPr>
              <a:t>The</a:t>
            </a:r>
            <a:r>
              <a:rPr lang="zh-CN" altLang="en-US" sz="1000" b="1">
                <a:solidFill>
                  <a:schemeClr val="bg1"/>
                </a:solidFill>
                <a:latin typeface="DM Sans"/>
              </a:rPr>
              <a:t> </a:t>
            </a:r>
            <a:r>
              <a:rPr lang="en-US" altLang="zh-CN" sz="1000" b="1">
                <a:solidFill>
                  <a:schemeClr val="bg1"/>
                </a:solidFill>
                <a:latin typeface="DM Sans"/>
              </a:rPr>
              <a:t>freshness</a:t>
            </a:r>
            <a:r>
              <a:rPr lang="zh-CN" altLang="en-US" sz="1000" b="1">
                <a:solidFill>
                  <a:schemeClr val="bg1"/>
                </a:solidFill>
                <a:latin typeface="DM Sans"/>
              </a:rPr>
              <a:t> </a:t>
            </a:r>
            <a:r>
              <a:rPr lang="en-US" altLang="zh-CN" sz="1000" b="1">
                <a:solidFill>
                  <a:schemeClr val="bg1"/>
                </a:solidFill>
                <a:latin typeface="DM Sans"/>
              </a:rPr>
              <a:t>of</a:t>
            </a:r>
            <a:r>
              <a:rPr lang="zh-CN" altLang="en-US" sz="1000" b="1">
                <a:solidFill>
                  <a:schemeClr val="bg1"/>
                </a:solidFill>
                <a:latin typeface="DM Sans"/>
              </a:rPr>
              <a:t> </a:t>
            </a:r>
            <a:r>
              <a:rPr lang="en-US" altLang="zh-CN" sz="1000" b="1">
                <a:solidFill>
                  <a:schemeClr val="bg1"/>
                </a:solidFill>
                <a:latin typeface="DM Sans"/>
              </a:rPr>
              <a:t>customer</a:t>
            </a:r>
            <a:r>
              <a:rPr lang="zh-CN" altLang="en-US" sz="1000" b="1">
                <a:solidFill>
                  <a:schemeClr val="bg1"/>
                </a:solidFill>
                <a:latin typeface="DM Sans"/>
              </a:rPr>
              <a:t> </a:t>
            </a:r>
            <a:r>
              <a:rPr lang="en-US" altLang="zh-CN" sz="1000" b="1">
                <a:solidFill>
                  <a:schemeClr val="bg1"/>
                </a:solidFill>
                <a:latin typeface="DM Sans"/>
              </a:rPr>
              <a:t>activity</a:t>
            </a:r>
            <a:endParaRPr lang="en-US" sz="1000" b="1">
              <a:solidFill>
                <a:schemeClr val="bg1"/>
              </a:solidFill>
              <a:latin typeface="DM Sans"/>
            </a:endParaRPr>
          </a:p>
        </p:txBody>
      </p:sp>
      <p:sp>
        <p:nvSpPr>
          <p:cNvPr id="103" name="TextBox 102">
            <a:extLst>
              <a:ext uri="{FF2B5EF4-FFF2-40B4-BE49-F238E27FC236}">
                <a16:creationId xmlns:a16="http://schemas.microsoft.com/office/drawing/2014/main" id="{9D39AB8D-E2CF-FFEB-E9B0-CBCB9826001E}"/>
              </a:ext>
            </a:extLst>
          </p:cNvPr>
          <p:cNvSpPr txBox="1"/>
          <p:nvPr/>
        </p:nvSpPr>
        <p:spPr>
          <a:xfrm>
            <a:off x="1424827" y="3687029"/>
            <a:ext cx="1198619" cy="553998"/>
          </a:xfrm>
          <a:prstGeom prst="rect">
            <a:avLst/>
          </a:prstGeom>
          <a:noFill/>
        </p:spPr>
        <p:txBody>
          <a:bodyPr wrap="square" rtlCol="0">
            <a:spAutoFit/>
          </a:bodyPr>
          <a:lstStyle/>
          <a:p>
            <a:pPr algn="ctr"/>
            <a:r>
              <a:rPr lang="en-US" altLang="zh-CN" sz="1000" b="1">
                <a:solidFill>
                  <a:schemeClr val="bg1"/>
                </a:solidFill>
                <a:latin typeface="DM Sans"/>
              </a:rPr>
              <a:t>The</a:t>
            </a:r>
            <a:r>
              <a:rPr lang="zh-CN" altLang="en-US" sz="1000" b="1">
                <a:solidFill>
                  <a:schemeClr val="bg1"/>
                </a:solidFill>
                <a:latin typeface="DM Sans"/>
              </a:rPr>
              <a:t> </a:t>
            </a:r>
            <a:r>
              <a:rPr lang="en-US" altLang="zh-CN" sz="1000" b="1">
                <a:solidFill>
                  <a:schemeClr val="bg1"/>
                </a:solidFill>
                <a:latin typeface="DM Sans"/>
              </a:rPr>
              <a:t>frequency</a:t>
            </a:r>
            <a:r>
              <a:rPr lang="zh-CN" altLang="en-US" sz="1000" b="1">
                <a:solidFill>
                  <a:schemeClr val="bg1"/>
                </a:solidFill>
                <a:latin typeface="DM Sans"/>
              </a:rPr>
              <a:t> </a:t>
            </a:r>
            <a:r>
              <a:rPr lang="en-US" altLang="zh-CN" sz="1000" b="1">
                <a:solidFill>
                  <a:schemeClr val="bg1"/>
                </a:solidFill>
                <a:latin typeface="DM Sans"/>
              </a:rPr>
              <a:t>of</a:t>
            </a:r>
            <a:r>
              <a:rPr lang="zh-CN" altLang="en-US" sz="1000" b="1">
                <a:solidFill>
                  <a:schemeClr val="bg1"/>
                </a:solidFill>
                <a:latin typeface="DM Sans"/>
              </a:rPr>
              <a:t> </a:t>
            </a:r>
            <a:r>
              <a:rPr lang="en-US" altLang="zh-CN" sz="1000" b="1">
                <a:solidFill>
                  <a:schemeClr val="bg1"/>
                </a:solidFill>
                <a:latin typeface="DM Sans"/>
              </a:rPr>
              <a:t>customer</a:t>
            </a:r>
            <a:r>
              <a:rPr lang="zh-CN" altLang="en-US" sz="1000" b="1">
                <a:solidFill>
                  <a:schemeClr val="bg1"/>
                </a:solidFill>
                <a:latin typeface="DM Sans"/>
              </a:rPr>
              <a:t> </a:t>
            </a:r>
            <a:r>
              <a:rPr lang="en-US" altLang="zh-CN" sz="1000" b="1">
                <a:solidFill>
                  <a:schemeClr val="bg1"/>
                </a:solidFill>
                <a:latin typeface="DM Sans"/>
              </a:rPr>
              <a:t>transaction</a:t>
            </a:r>
            <a:endParaRPr lang="en-US" sz="1000" b="1">
              <a:solidFill>
                <a:schemeClr val="bg1"/>
              </a:solidFill>
              <a:latin typeface="DM Sans"/>
            </a:endParaRPr>
          </a:p>
        </p:txBody>
      </p:sp>
      <p:sp>
        <p:nvSpPr>
          <p:cNvPr id="104" name="TextBox 103">
            <a:extLst>
              <a:ext uri="{FF2B5EF4-FFF2-40B4-BE49-F238E27FC236}">
                <a16:creationId xmlns:a16="http://schemas.microsoft.com/office/drawing/2014/main" id="{ADB5F452-2AF0-93BD-4FC7-3F4B5F6069A1}"/>
              </a:ext>
            </a:extLst>
          </p:cNvPr>
          <p:cNvSpPr txBox="1"/>
          <p:nvPr/>
        </p:nvSpPr>
        <p:spPr>
          <a:xfrm>
            <a:off x="2707578" y="3697823"/>
            <a:ext cx="1113906" cy="553998"/>
          </a:xfrm>
          <a:prstGeom prst="rect">
            <a:avLst/>
          </a:prstGeom>
          <a:noFill/>
        </p:spPr>
        <p:txBody>
          <a:bodyPr wrap="square" rtlCol="0">
            <a:spAutoFit/>
          </a:bodyPr>
          <a:lstStyle/>
          <a:p>
            <a:pPr algn="ctr"/>
            <a:r>
              <a:rPr lang="en-US" altLang="zh-CN" sz="1000" b="1">
                <a:solidFill>
                  <a:schemeClr val="bg1"/>
                </a:solidFill>
                <a:latin typeface="DM Sans"/>
              </a:rPr>
              <a:t>The</a:t>
            </a:r>
            <a:r>
              <a:rPr lang="zh-CN" altLang="en-US" sz="1000" b="1">
                <a:solidFill>
                  <a:schemeClr val="bg1"/>
                </a:solidFill>
                <a:latin typeface="DM Sans"/>
              </a:rPr>
              <a:t> </a:t>
            </a:r>
            <a:r>
              <a:rPr lang="en-US" altLang="zh-CN" sz="1000" b="1">
                <a:solidFill>
                  <a:schemeClr val="bg1"/>
                </a:solidFill>
                <a:latin typeface="DM Sans"/>
              </a:rPr>
              <a:t>intention</a:t>
            </a:r>
            <a:r>
              <a:rPr lang="zh-CN" altLang="en-US" sz="1000" b="1">
                <a:solidFill>
                  <a:schemeClr val="bg1"/>
                </a:solidFill>
                <a:latin typeface="DM Sans"/>
              </a:rPr>
              <a:t> </a:t>
            </a:r>
            <a:r>
              <a:rPr lang="en-US" altLang="zh-CN" sz="1000" b="1">
                <a:solidFill>
                  <a:schemeClr val="bg1"/>
                </a:solidFill>
                <a:latin typeface="DM Sans"/>
              </a:rPr>
              <a:t>of</a:t>
            </a:r>
            <a:r>
              <a:rPr lang="zh-CN" altLang="en-US" sz="1000" b="1">
                <a:solidFill>
                  <a:schemeClr val="bg1"/>
                </a:solidFill>
                <a:latin typeface="DM Sans"/>
              </a:rPr>
              <a:t> </a:t>
            </a:r>
            <a:r>
              <a:rPr lang="en-US" altLang="zh-CN" sz="1000" b="1">
                <a:solidFill>
                  <a:schemeClr val="bg1"/>
                </a:solidFill>
                <a:latin typeface="DM Sans"/>
              </a:rPr>
              <a:t>customer</a:t>
            </a:r>
            <a:r>
              <a:rPr lang="zh-CN" altLang="en-US" sz="1000" b="1">
                <a:solidFill>
                  <a:schemeClr val="bg1"/>
                </a:solidFill>
                <a:latin typeface="DM Sans"/>
              </a:rPr>
              <a:t> </a:t>
            </a:r>
            <a:r>
              <a:rPr lang="en-US" altLang="zh-CN" sz="1000" b="1">
                <a:solidFill>
                  <a:schemeClr val="bg1"/>
                </a:solidFill>
                <a:latin typeface="DM Sans"/>
              </a:rPr>
              <a:t>to</a:t>
            </a:r>
            <a:r>
              <a:rPr lang="zh-CN" altLang="en-US" sz="1000" b="1">
                <a:solidFill>
                  <a:schemeClr val="bg1"/>
                </a:solidFill>
                <a:latin typeface="DM Sans"/>
              </a:rPr>
              <a:t> </a:t>
            </a:r>
            <a:r>
              <a:rPr lang="en-US" altLang="zh-CN" sz="1000" b="1">
                <a:solidFill>
                  <a:schemeClr val="bg1"/>
                </a:solidFill>
                <a:latin typeface="DM Sans"/>
              </a:rPr>
              <a:t>spend</a:t>
            </a:r>
            <a:endParaRPr lang="en-US" sz="1000" b="1">
              <a:solidFill>
                <a:schemeClr val="bg1"/>
              </a:solidFill>
              <a:latin typeface="DM Sans"/>
            </a:endParaRPr>
          </a:p>
        </p:txBody>
      </p:sp>
      <p:sp>
        <p:nvSpPr>
          <p:cNvPr id="105" name="TextBox 104">
            <a:extLst>
              <a:ext uri="{FF2B5EF4-FFF2-40B4-BE49-F238E27FC236}">
                <a16:creationId xmlns:a16="http://schemas.microsoft.com/office/drawing/2014/main" id="{D1DB1647-F93C-69F5-4B50-A78A6C75DC40}"/>
              </a:ext>
            </a:extLst>
          </p:cNvPr>
          <p:cNvSpPr txBox="1"/>
          <p:nvPr/>
        </p:nvSpPr>
        <p:spPr>
          <a:xfrm>
            <a:off x="4042399" y="1459521"/>
            <a:ext cx="4704709" cy="1600438"/>
          </a:xfrm>
          <a:prstGeom prst="rect">
            <a:avLst/>
          </a:prstGeom>
          <a:solidFill>
            <a:schemeClr val="accent2"/>
          </a:solidFill>
        </p:spPr>
        <p:txBody>
          <a:bodyPr wrap="square" rtlCol="0">
            <a:spAutoFit/>
          </a:bodyPr>
          <a:lstStyle/>
          <a:p>
            <a:r>
              <a:rPr lang="en-US" altLang="zh-CN">
                <a:solidFill>
                  <a:schemeClr val="bg1"/>
                </a:solidFill>
                <a:latin typeface="DM Sans" pitchFamily="2" charset="77"/>
              </a:rPr>
              <a:t>Filter</a:t>
            </a:r>
            <a:r>
              <a:rPr lang="zh-CN" altLang="en-US">
                <a:solidFill>
                  <a:schemeClr val="bg1"/>
                </a:solidFill>
                <a:latin typeface="DM Sans" pitchFamily="2" charset="77"/>
              </a:rPr>
              <a:t> </a:t>
            </a:r>
            <a:r>
              <a:rPr lang="en-US" altLang="zh-CN">
                <a:solidFill>
                  <a:schemeClr val="bg1"/>
                </a:solidFill>
                <a:latin typeface="DM Sans" pitchFamily="2" charset="77"/>
              </a:rPr>
              <a:t>data</a:t>
            </a:r>
            <a:r>
              <a:rPr lang="zh-CN" altLang="en-US">
                <a:solidFill>
                  <a:schemeClr val="bg1"/>
                </a:solidFill>
                <a:latin typeface="DM Sans" pitchFamily="2" charset="77"/>
              </a:rPr>
              <a:t> </a:t>
            </a:r>
            <a:r>
              <a:rPr lang="en-US" altLang="zh-CN">
                <a:solidFill>
                  <a:schemeClr val="bg1"/>
                </a:solidFill>
                <a:latin typeface="DM Sans" pitchFamily="2" charset="77"/>
              </a:rPr>
              <a:t>to</a:t>
            </a:r>
            <a:r>
              <a:rPr lang="zh-CN" altLang="en-US">
                <a:solidFill>
                  <a:schemeClr val="bg1"/>
                </a:solidFill>
                <a:latin typeface="DM Sans" pitchFamily="2" charset="77"/>
              </a:rPr>
              <a:t> </a:t>
            </a:r>
            <a:r>
              <a:rPr lang="en-US" altLang="zh-CN">
                <a:solidFill>
                  <a:schemeClr val="bg1"/>
                </a:solidFill>
                <a:latin typeface="DM Sans" pitchFamily="2" charset="77"/>
              </a:rPr>
              <a:t>contain</a:t>
            </a:r>
            <a:r>
              <a:rPr lang="zh-CN" altLang="en-US">
                <a:solidFill>
                  <a:schemeClr val="bg1"/>
                </a:solidFill>
                <a:latin typeface="DM Sans" pitchFamily="2" charset="77"/>
              </a:rPr>
              <a:t> </a:t>
            </a:r>
            <a:r>
              <a:rPr lang="en-US" altLang="zh-CN">
                <a:solidFill>
                  <a:schemeClr val="bg1"/>
                </a:solidFill>
                <a:latin typeface="DM Sans" pitchFamily="2" charset="77"/>
              </a:rPr>
              <a:t>only</a:t>
            </a:r>
            <a:r>
              <a:rPr lang="zh-CN" altLang="en-US">
                <a:solidFill>
                  <a:schemeClr val="bg1"/>
                </a:solidFill>
                <a:latin typeface="DM Sans" pitchFamily="2" charset="77"/>
              </a:rPr>
              <a:t> </a:t>
            </a:r>
            <a:r>
              <a:rPr lang="en-US" altLang="zh-CN">
                <a:solidFill>
                  <a:schemeClr val="bg1"/>
                </a:solidFill>
                <a:latin typeface="DM Sans" pitchFamily="2" charset="77"/>
              </a:rPr>
              <a:t>orders</a:t>
            </a:r>
            <a:r>
              <a:rPr lang="zh-CN" altLang="en-US">
                <a:solidFill>
                  <a:schemeClr val="bg1"/>
                </a:solidFill>
                <a:latin typeface="DM Sans" pitchFamily="2" charset="77"/>
              </a:rPr>
              <a:t> </a:t>
            </a:r>
            <a:r>
              <a:rPr lang="en-US" altLang="zh-CN">
                <a:solidFill>
                  <a:schemeClr val="bg1"/>
                </a:solidFill>
                <a:latin typeface="DM Sans" pitchFamily="2" charset="77"/>
              </a:rPr>
              <a:t>that</a:t>
            </a:r>
            <a:r>
              <a:rPr lang="zh-CN" altLang="en-US">
                <a:solidFill>
                  <a:schemeClr val="bg1"/>
                </a:solidFill>
                <a:latin typeface="DM Sans" pitchFamily="2" charset="77"/>
              </a:rPr>
              <a:t> </a:t>
            </a:r>
            <a:r>
              <a:rPr lang="en-US" altLang="zh-CN">
                <a:solidFill>
                  <a:schemeClr val="bg1"/>
                </a:solidFill>
                <a:latin typeface="DM Sans" pitchFamily="2" charset="77"/>
              </a:rPr>
              <a:t>is</a:t>
            </a:r>
            <a:r>
              <a:rPr lang="zh-CN" altLang="en-US">
                <a:solidFill>
                  <a:schemeClr val="bg1"/>
                </a:solidFill>
                <a:latin typeface="DM Sans" pitchFamily="2" charset="77"/>
              </a:rPr>
              <a:t> </a:t>
            </a:r>
            <a:r>
              <a:rPr lang="en-US" altLang="zh-CN" b="1">
                <a:solidFill>
                  <a:schemeClr val="bg1"/>
                </a:solidFill>
                <a:latin typeface="DM Sans" pitchFamily="2" charset="77"/>
              </a:rPr>
              <a:t>delivered</a:t>
            </a:r>
          </a:p>
          <a:p>
            <a:pPr marL="285750" indent="-285750">
              <a:buClr>
                <a:schemeClr val="bg1"/>
              </a:buClr>
              <a:buFont typeface="Wingdings" pitchFamily="2" charset="2"/>
              <a:buChar char="ü"/>
            </a:pPr>
            <a:r>
              <a:rPr lang="en-US" altLang="zh-CN" b="1">
                <a:solidFill>
                  <a:schemeClr val="bg1"/>
                </a:solidFill>
                <a:latin typeface="DM Sans" pitchFamily="2" charset="77"/>
              </a:rPr>
              <a:t>Recency</a:t>
            </a:r>
            <a:r>
              <a:rPr lang="en-US" altLang="zh-CN">
                <a:solidFill>
                  <a:schemeClr val="bg1"/>
                </a:solidFill>
                <a:latin typeface="DM Sans" pitchFamily="2" charset="77"/>
              </a:rPr>
              <a:t>:</a:t>
            </a:r>
            <a:r>
              <a:rPr lang="zh-CN" altLang="en-US">
                <a:solidFill>
                  <a:schemeClr val="bg1"/>
                </a:solidFill>
                <a:latin typeface="DM Sans" pitchFamily="2" charset="77"/>
              </a:rPr>
              <a:t> </a:t>
            </a:r>
            <a:r>
              <a:rPr lang="en-US" altLang="zh-CN">
                <a:solidFill>
                  <a:schemeClr val="bg1"/>
                </a:solidFill>
                <a:latin typeface="DM Sans" pitchFamily="2" charset="77"/>
              </a:rPr>
              <a:t>Days from the most recent purchase to each order's purchase date</a:t>
            </a:r>
          </a:p>
          <a:p>
            <a:pPr marL="285750" indent="-285750">
              <a:buClr>
                <a:schemeClr val="bg1"/>
              </a:buClr>
              <a:buFont typeface="Wingdings" pitchFamily="2" charset="2"/>
              <a:buChar char="ü"/>
            </a:pPr>
            <a:r>
              <a:rPr lang="en-US" altLang="zh-CN" b="1">
                <a:solidFill>
                  <a:schemeClr val="bg1"/>
                </a:solidFill>
                <a:latin typeface="DM Sans" pitchFamily="2" charset="77"/>
              </a:rPr>
              <a:t>Frequency</a:t>
            </a:r>
            <a:r>
              <a:rPr lang="en-US" altLang="zh-CN">
                <a:solidFill>
                  <a:schemeClr val="bg1"/>
                </a:solidFill>
                <a:latin typeface="DM Sans" pitchFamily="2" charset="77"/>
              </a:rPr>
              <a:t>:</a:t>
            </a:r>
            <a:r>
              <a:rPr lang="zh-CN" altLang="en-US">
                <a:solidFill>
                  <a:schemeClr val="bg1"/>
                </a:solidFill>
                <a:latin typeface="DM Sans" pitchFamily="2" charset="77"/>
              </a:rPr>
              <a:t> </a:t>
            </a:r>
            <a:r>
              <a:rPr lang="en-US" altLang="zh-CN">
                <a:solidFill>
                  <a:schemeClr val="bg1"/>
                </a:solidFill>
                <a:latin typeface="DM Sans" pitchFamily="2" charset="77"/>
              </a:rPr>
              <a:t>Total</a:t>
            </a:r>
            <a:r>
              <a:rPr lang="zh-CN" altLang="en-US">
                <a:solidFill>
                  <a:schemeClr val="bg1"/>
                </a:solidFill>
                <a:latin typeface="DM Sans" pitchFamily="2" charset="77"/>
              </a:rPr>
              <a:t> </a:t>
            </a:r>
            <a:r>
              <a:rPr lang="en-US" altLang="zh-CN">
                <a:solidFill>
                  <a:schemeClr val="bg1"/>
                </a:solidFill>
                <a:latin typeface="DM Sans" pitchFamily="2" charset="77"/>
              </a:rPr>
              <a:t>number</a:t>
            </a:r>
            <a:r>
              <a:rPr lang="zh-CN" altLang="en-US">
                <a:solidFill>
                  <a:schemeClr val="bg1"/>
                </a:solidFill>
                <a:latin typeface="DM Sans" pitchFamily="2" charset="77"/>
              </a:rPr>
              <a:t> </a:t>
            </a:r>
            <a:r>
              <a:rPr lang="en-US" altLang="zh-CN">
                <a:solidFill>
                  <a:schemeClr val="bg1"/>
                </a:solidFill>
                <a:latin typeface="DM Sans" pitchFamily="2" charset="77"/>
              </a:rPr>
              <a:t>of</a:t>
            </a:r>
            <a:r>
              <a:rPr lang="zh-CN" altLang="en-US">
                <a:solidFill>
                  <a:schemeClr val="bg1"/>
                </a:solidFill>
                <a:latin typeface="DM Sans" pitchFamily="2" charset="77"/>
              </a:rPr>
              <a:t> </a:t>
            </a:r>
            <a:r>
              <a:rPr lang="en-US" altLang="zh-CN">
                <a:solidFill>
                  <a:schemeClr val="bg1"/>
                </a:solidFill>
                <a:latin typeface="DM Sans" pitchFamily="2" charset="77"/>
              </a:rPr>
              <a:t>unique</a:t>
            </a:r>
            <a:r>
              <a:rPr lang="zh-CN" altLang="en-US">
                <a:solidFill>
                  <a:schemeClr val="bg1"/>
                </a:solidFill>
                <a:latin typeface="DM Sans" pitchFamily="2" charset="77"/>
              </a:rPr>
              <a:t> </a:t>
            </a:r>
            <a:r>
              <a:rPr lang="en-US" altLang="zh-CN">
                <a:solidFill>
                  <a:schemeClr val="bg1"/>
                </a:solidFill>
                <a:latin typeface="DM Sans" pitchFamily="2" charset="77"/>
              </a:rPr>
              <a:t>transactions</a:t>
            </a:r>
            <a:r>
              <a:rPr lang="zh-CN" altLang="en-US">
                <a:solidFill>
                  <a:schemeClr val="bg1"/>
                </a:solidFill>
                <a:latin typeface="DM Sans" pitchFamily="2" charset="77"/>
              </a:rPr>
              <a:t> </a:t>
            </a:r>
            <a:r>
              <a:rPr lang="en-US" altLang="zh-CN">
                <a:solidFill>
                  <a:schemeClr val="bg1"/>
                </a:solidFill>
                <a:latin typeface="DM Sans" pitchFamily="2" charset="77"/>
              </a:rPr>
              <a:t>of</a:t>
            </a:r>
            <a:r>
              <a:rPr lang="zh-CN" altLang="en-US">
                <a:solidFill>
                  <a:schemeClr val="bg1"/>
                </a:solidFill>
                <a:latin typeface="DM Sans" pitchFamily="2" charset="77"/>
              </a:rPr>
              <a:t> </a:t>
            </a:r>
            <a:r>
              <a:rPr lang="en-US" altLang="zh-CN">
                <a:solidFill>
                  <a:schemeClr val="bg1"/>
                </a:solidFill>
                <a:latin typeface="DM Sans" pitchFamily="2" charset="77"/>
              </a:rPr>
              <a:t>each</a:t>
            </a:r>
            <a:r>
              <a:rPr lang="zh-CN" altLang="en-US">
                <a:solidFill>
                  <a:schemeClr val="bg1"/>
                </a:solidFill>
                <a:latin typeface="DM Sans" pitchFamily="2" charset="77"/>
              </a:rPr>
              <a:t> </a:t>
            </a:r>
            <a:r>
              <a:rPr lang="en-US" altLang="zh-CN">
                <a:solidFill>
                  <a:schemeClr val="bg1"/>
                </a:solidFill>
                <a:latin typeface="DM Sans" pitchFamily="2" charset="77"/>
              </a:rPr>
              <a:t>customer</a:t>
            </a:r>
          </a:p>
          <a:p>
            <a:pPr marL="285750" indent="-285750">
              <a:buClr>
                <a:schemeClr val="bg1"/>
              </a:buClr>
              <a:buFont typeface="Wingdings" pitchFamily="2" charset="2"/>
              <a:buChar char="ü"/>
            </a:pPr>
            <a:r>
              <a:rPr lang="en-US" altLang="zh-CN" b="1">
                <a:solidFill>
                  <a:schemeClr val="bg1"/>
                </a:solidFill>
                <a:latin typeface="DM Sans" pitchFamily="2" charset="77"/>
              </a:rPr>
              <a:t>Monetary</a:t>
            </a:r>
            <a:r>
              <a:rPr lang="en-US" altLang="zh-CN">
                <a:solidFill>
                  <a:schemeClr val="bg1"/>
                </a:solidFill>
                <a:latin typeface="DM Sans" pitchFamily="2" charset="77"/>
              </a:rPr>
              <a:t>:</a:t>
            </a:r>
            <a:r>
              <a:rPr lang="zh-CN" altLang="en-US">
                <a:solidFill>
                  <a:schemeClr val="bg1"/>
                </a:solidFill>
                <a:latin typeface="DM Sans" pitchFamily="2" charset="77"/>
              </a:rPr>
              <a:t> </a:t>
            </a:r>
            <a:r>
              <a:rPr lang="en-US" altLang="zh-CN">
                <a:solidFill>
                  <a:schemeClr val="bg1"/>
                </a:solidFill>
                <a:latin typeface="DM Sans" pitchFamily="2" charset="77"/>
              </a:rPr>
              <a:t>Total</a:t>
            </a:r>
            <a:r>
              <a:rPr lang="zh-CN" altLang="en-US">
                <a:solidFill>
                  <a:schemeClr val="bg1"/>
                </a:solidFill>
                <a:latin typeface="DM Sans" pitchFamily="2" charset="77"/>
              </a:rPr>
              <a:t> </a:t>
            </a:r>
            <a:r>
              <a:rPr lang="en-US" altLang="zh-CN">
                <a:solidFill>
                  <a:schemeClr val="bg1"/>
                </a:solidFill>
                <a:latin typeface="DM Sans" pitchFamily="2" charset="77"/>
              </a:rPr>
              <a:t>transaction</a:t>
            </a:r>
            <a:r>
              <a:rPr lang="zh-CN" altLang="en-US">
                <a:solidFill>
                  <a:schemeClr val="bg1"/>
                </a:solidFill>
                <a:latin typeface="DM Sans" pitchFamily="2" charset="77"/>
              </a:rPr>
              <a:t> </a:t>
            </a:r>
            <a:r>
              <a:rPr lang="en-US" altLang="zh-CN">
                <a:solidFill>
                  <a:schemeClr val="bg1"/>
                </a:solidFill>
                <a:latin typeface="DM Sans" pitchFamily="2" charset="77"/>
              </a:rPr>
              <a:t>value</a:t>
            </a:r>
            <a:r>
              <a:rPr lang="zh-CN" altLang="en-US">
                <a:solidFill>
                  <a:schemeClr val="bg1"/>
                </a:solidFill>
                <a:latin typeface="DM Sans" pitchFamily="2" charset="77"/>
              </a:rPr>
              <a:t> </a:t>
            </a:r>
            <a:r>
              <a:rPr lang="en-US" altLang="zh-CN">
                <a:solidFill>
                  <a:schemeClr val="bg1"/>
                </a:solidFill>
                <a:latin typeface="DM Sans" pitchFamily="2" charset="77"/>
              </a:rPr>
              <a:t>of</a:t>
            </a:r>
            <a:r>
              <a:rPr lang="zh-CN" altLang="en-US">
                <a:solidFill>
                  <a:schemeClr val="bg1"/>
                </a:solidFill>
                <a:latin typeface="DM Sans" pitchFamily="2" charset="77"/>
              </a:rPr>
              <a:t> </a:t>
            </a:r>
            <a:r>
              <a:rPr lang="en-US" altLang="zh-CN">
                <a:solidFill>
                  <a:schemeClr val="bg1"/>
                </a:solidFill>
                <a:latin typeface="DM Sans" pitchFamily="2" charset="77"/>
              </a:rPr>
              <a:t>each</a:t>
            </a:r>
            <a:r>
              <a:rPr lang="zh-CN" altLang="en-US">
                <a:solidFill>
                  <a:schemeClr val="bg1"/>
                </a:solidFill>
                <a:latin typeface="DM Sans" pitchFamily="2" charset="77"/>
              </a:rPr>
              <a:t> </a:t>
            </a:r>
            <a:r>
              <a:rPr lang="en-US" altLang="zh-CN">
                <a:solidFill>
                  <a:schemeClr val="bg1"/>
                </a:solidFill>
                <a:latin typeface="DM Sans" pitchFamily="2" charset="77"/>
              </a:rPr>
              <a:t>customer</a:t>
            </a:r>
            <a:endParaRPr lang="en-US">
              <a:solidFill>
                <a:schemeClr val="bg1"/>
              </a:solidFill>
              <a:latin typeface="DM Sans" pitchFamily="2" charset="77"/>
            </a:endParaRPr>
          </a:p>
        </p:txBody>
      </p:sp>
      <p:sp>
        <p:nvSpPr>
          <p:cNvPr id="3" name="文本框 2">
            <a:extLst>
              <a:ext uri="{FF2B5EF4-FFF2-40B4-BE49-F238E27FC236}">
                <a16:creationId xmlns:a16="http://schemas.microsoft.com/office/drawing/2014/main" id="{7CEEA88B-9A27-45F8-DC2D-172CE1EB791F}"/>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3</a:t>
            </a:r>
          </a:p>
        </p:txBody>
      </p:sp>
    </p:spTree>
    <p:extLst>
      <p:ext uri="{BB962C8B-B14F-4D97-AF65-F5344CB8AC3E}">
        <p14:creationId xmlns:p14="http://schemas.microsoft.com/office/powerpoint/2010/main" val="7934177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CE4CC49-13C4-4595-0463-9EDF1ABA4504}"/>
              </a:ext>
            </a:extLst>
          </p:cNvPr>
          <p:cNvPicPr>
            <a:picLocks noChangeAspect="1"/>
          </p:cNvPicPr>
          <p:nvPr/>
        </p:nvPicPr>
        <p:blipFill>
          <a:blip r:embed="rId3"/>
          <a:stretch>
            <a:fillRect/>
          </a:stretch>
        </p:blipFill>
        <p:spPr>
          <a:xfrm>
            <a:off x="281213" y="1199111"/>
            <a:ext cx="3552534" cy="3034159"/>
          </a:xfrm>
          <a:prstGeom prst="rect">
            <a:avLst/>
          </a:prstGeom>
        </p:spPr>
      </p:pic>
      <p:graphicFrame>
        <p:nvGraphicFramePr>
          <p:cNvPr id="6" name="Table 5">
            <a:extLst>
              <a:ext uri="{FF2B5EF4-FFF2-40B4-BE49-F238E27FC236}">
                <a16:creationId xmlns:a16="http://schemas.microsoft.com/office/drawing/2014/main" id="{EB1EBAB7-F83B-730E-F8E4-4A1723C366C5}"/>
              </a:ext>
            </a:extLst>
          </p:cNvPr>
          <p:cNvGraphicFramePr>
            <a:graphicFrameLocks noGrp="1"/>
          </p:cNvGraphicFramePr>
          <p:nvPr>
            <p:extLst>
              <p:ext uri="{D42A27DB-BD31-4B8C-83A1-F6EECF244321}">
                <p14:modId xmlns:p14="http://schemas.microsoft.com/office/powerpoint/2010/main" val="3009959849"/>
              </p:ext>
            </p:extLst>
          </p:nvPr>
        </p:nvGraphicFramePr>
        <p:xfrm>
          <a:off x="4454833" y="1199111"/>
          <a:ext cx="4605250" cy="1965960"/>
        </p:xfrm>
        <a:graphic>
          <a:graphicData uri="http://schemas.openxmlformats.org/drawingml/2006/table">
            <a:tbl>
              <a:tblPr firstRow="1" bandRow="1">
                <a:tableStyleId>{46F890A9-2807-4EBB-B81D-B2AA78EC7F39}</a:tableStyleId>
              </a:tblPr>
              <a:tblGrid>
                <a:gridCol w="921050">
                  <a:extLst>
                    <a:ext uri="{9D8B030D-6E8A-4147-A177-3AD203B41FA5}">
                      <a16:colId xmlns:a16="http://schemas.microsoft.com/office/drawing/2014/main" val="475352806"/>
                    </a:ext>
                  </a:extLst>
                </a:gridCol>
                <a:gridCol w="921050">
                  <a:extLst>
                    <a:ext uri="{9D8B030D-6E8A-4147-A177-3AD203B41FA5}">
                      <a16:colId xmlns:a16="http://schemas.microsoft.com/office/drawing/2014/main" val="1581186493"/>
                    </a:ext>
                  </a:extLst>
                </a:gridCol>
                <a:gridCol w="921050">
                  <a:extLst>
                    <a:ext uri="{9D8B030D-6E8A-4147-A177-3AD203B41FA5}">
                      <a16:colId xmlns:a16="http://schemas.microsoft.com/office/drawing/2014/main" val="2893125056"/>
                    </a:ext>
                  </a:extLst>
                </a:gridCol>
                <a:gridCol w="921050">
                  <a:extLst>
                    <a:ext uri="{9D8B030D-6E8A-4147-A177-3AD203B41FA5}">
                      <a16:colId xmlns:a16="http://schemas.microsoft.com/office/drawing/2014/main" val="3407467863"/>
                    </a:ext>
                  </a:extLst>
                </a:gridCol>
                <a:gridCol w="921050">
                  <a:extLst>
                    <a:ext uri="{9D8B030D-6E8A-4147-A177-3AD203B41FA5}">
                      <a16:colId xmlns:a16="http://schemas.microsoft.com/office/drawing/2014/main" val="514104537"/>
                    </a:ext>
                  </a:extLst>
                </a:gridCol>
              </a:tblGrid>
              <a:tr h="361868">
                <a:tc>
                  <a:txBody>
                    <a:bodyPr/>
                    <a:lstStyle/>
                    <a:p>
                      <a:pPr algn="ctr"/>
                      <a:r>
                        <a:rPr lang="en-US" altLang="zh-CN" sz="1100"/>
                        <a:t>Customer</a:t>
                      </a:r>
                      <a:r>
                        <a:rPr lang="zh-CN" altLang="en-US" sz="1100"/>
                        <a:t> </a:t>
                      </a:r>
                      <a:r>
                        <a:rPr lang="en-US" altLang="zh-CN" sz="1100"/>
                        <a:t>Profile</a:t>
                      </a:r>
                      <a:endParaRPr lang="en-US" sz="1100"/>
                    </a:p>
                  </a:txBody>
                  <a:tcPr/>
                </a:tc>
                <a:tc>
                  <a:txBody>
                    <a:bodyPr/>
                    <a:lstStyle/>
                    <a:p>
                      <a:pPr algn="ctr"/>
                      <a:r>
                        <a:rPr lang="en-US" sz="1100"/>
                        <a:t>Recency</a:t>
                      </a:r>
                    </a:p>
                  </a:txBody>
                  <a:tcPr/>
                </a:tc>
                <a:tc>
                  <a:txBody>
                    <a:bodyPr/>
                    <a:lstStyle/>
                    <a:p>
                      <a:pPr algn="ctr"/>
                      <a:r>
                        <a:rPr lang="en-US" sz="1100"/>
                        <a:t>Frequency</a:t>
                      </a:r>
                    </a:p>
                  </a:txBody>
                  <a:tcPr/>
                </a:tc>
                <a:tc>
                  <a:txBody>
                    <a:bodyPr/>
                    <a:lstStyle/>
                    <a:p>
                      <a:pPr algn="ctr"/>
                      <a:r>
                        <a:rPr lang="en-US" sz="1100"/>
                        <a:t>Monetary</a:t>
                      </a:r>
                    </a:p>
                  </a:txBody>
                  <a:tcPr/>
                </a:tc>
                <a:tc>
                  <a:txBody>
                    <a:bodyPr/>
                    <a:lstStyle/>
                    <a:p>
                      <a:pPr algn="ctr"/>
                      <a:r>
                        <a:rPr lang="en-US" sz="1100"/>
                        <a:t>RFM Score</a:t>
                      </a:r>
                    </a:p>
                  </a:txBody>
                  <a:tcPr/>
                </a:tc>
                <a:extLst>
                  <a:ext uri="{0D108BD9-81ED-4DB2-BD59-A6C34878D82A}">
                    <a16:rowId xmlns:a16="http://schemas.microsoft.com/office/drawing/2014/main" val="3451457462"/>
                  </a:ext>
                </a:extLst>
              </a:tr>
              <a:tr h="421720">
                <a:tc>
                  <a:txBody>
                    <a:bodyPr/>
                    <a:lstStyle/>
                    <a:p>
                      <a:pPr algn="ctr"/>
                      <a:r>
                        <a:rPr lang="en-US" sz="1100"/>
                        <a:t>Can’t Lose Them</a:t>
                      </a:r>
                    </a:p>
                  </a:txBody>
                  <a:tcPr/>
                </a:tc>
                <a:tc>
                  <a:txBody>
                    <a:bodyPr/>
                    <a:lstStyle/>
                    <a:p>
                      <a:pPr algn="ctr"/>
                      <a:r>
                        <a:rPr lang="en-US" sz="1100"/>
                        <a:t>High</a:t>
                      </a:r>
                    </a:p>
                  </a:txBody>
                  <a:tcPr/>
                </a:tc>
                <a:tc>
                  <a:txBody>
                    <a:bodyPr/>
                    <a:lstStyle/>
                    <a:p>
                      <a:pPr algn="ctr"/>
                      <a:r>
                        <a:rPr lang="en-US" sz="1100"/>
                        <a:t>High</a:t>
                      </a:r>
                    </a:p>
                  </a:txBody>
                  <a:tcPr/>
                </a:tc>
                <a:tc>
                  <a:txBody>
                    <a:bodyPr/>
                    <a:lstStyle/>
                    <a:p>
                      <a:pPr algn="ctr"/>
                      <a:r>
                        <a:rPr lang="en-US" sz="1100"/>
                        <a:t>High</a:t>
                      </a:r>
                    </a:p>
                  </a:txBody>
                  <a:tcPr/>
                </a:tc>
                <a:tc>
                  <a:txBody>
                    <a:bodyPr/>
                    <a:lstStyle/>
                    <a:p>
                      <a:pPr algn="ctr"/>
                      <a:r>
                        <a:rPr lang="en-US" sz="1100"/>
                        <a:t>&gt;9</a:t>
                      </a:r>
                    </a:p>
                  </a:txBody>
                  <a:tcPr/>
                </a:tc>
                <a:extLst>
                  <a:ext uri="{0D108BD9-81ED-4DB2-BD59-A6C34878D82A}">
                    <a16:rowId xmlns:a16="http://schemas.microsoft.com/office/drawing/2014/main" val="3297929073"/>
                  </a:ext>
                </a:extLst>
              </a:tr>
              <a:tr h="361868">
                <a:tc>
                  <a:txBody>
                    <a:bodyPr/>
                    <a:lstStyle/>
                    <a:p>
                      <a:pPr algn="ctr"/>
                      <a:r>
                        <a:rPr lang="en-US" sz="1100"/>
                        <a:t>Loyal</a:t>
                      </a:r>
                    </a:p>
                  </a:txBody>
                  <a:tcPr/>
                </a:tc>
                <a:tc>
                  <a:txBody>
                    <a:bodyPr/>
                    <a:lstStyle/>
                    <a:p>
                      <a:pPr algn="ctr"/>
                      <a:r>
                        <a:rPr lang="en-US" sz="1100"/>
                        <a:t>High</a:t>
                      </a:r>
                    </a:p>
                  </a:txBody>
                  <a:tcPr/>
                </a:tc>
                <a:tc>
                  <a:txBody>
                    <a:bodyPr/>
                    <a:lstStyle/>
                    <a:p>
                      <a:pPr algn="ctr"/>
                      <a:r>
                        <a:rPr lang="en-US" sz="1100"/>
                        <a:t>Moderate</a:t>
                      </a:r>
                    </a:p>
                  </a:txBody>
                  <a:tcPr/>
                </a:tc>
                <a:tc>
                  <a:txBody>
                    <a:bodyPr/>
                    <a:lstStyle/>
                    <a:p>
                      <a:pPr algn="ctr"/>
                      <a:r>
                        <a:rPr lang="en-US" sz="1100"/>
                        <a:t>Moderat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7,9)</a:t>
                      </a:r>
                    </a:p>
                    <a:p>
                      <a:pPr algn="ctr"/>
                      <a:endParaRPr lang="en-US" sz="1100"/>
                    </a:p>
                  </a:txBody>
                  <a:tcPr/>
                </a:tc>
                <a:extLst>
                  <a:ext uri="{0D108BD9-81ED-4DB2-BD59-A6C34878D82A}">
                    <a16:rowId xmlns:a16="http://schemas.microsoft.com/office/drawing/2014/main" val="3095188756"/>
                  </a:ext>
                </a:extLst>
              </a:tr>
              <a:tr h="361868">
                <a:tc>
                  <a:txBody>
                    <a:bodyPr/>
                    <a:lstStyle/>
                    <a:p>
                      <a:pPr algn="ctr"/>
                      <a:r>
                        <a:rPr lang="en-US" sz="1100"/>
                        <a:t>Potential Loyalists</a:t>
                      </a:r>
                    </a:p>
                  </a:txBody>
                  <a:tcPr/>
                </a:tc>
                <a:tc>
                  <a:txBody>
                    <a:bodyPr/>
                    <a:lstStyle/>
                    <a:p>
                      <a:pPr algn="ctr"/>
                      <a:r>
                        <a:rPr lang="en-US" sz="1100"/>
                        <a:t>Moderate</a:t>
                      </a:r>
                    </a:p>
                  </a:txBody>
                  <a:tcPr/>
                </a:tc>
                <a:tc>
                  <a:txBody>
                    <a:bodyPr/>
                    <a:lstStyle/>
                    <a:p>
                      <a:pPr algn="ctr"/>
                      <a:r>
                        <a:rPr lang="en-US" sz="1100"/>
                        <a:t>Moderate</a:t>
                      </a:r>
                    </a:p>
                  </a:txBody>
                  <a:tcPr/>
                </a:tc>
                <a:tc>
                  <a:txBody>
                    <a:bodyPr/>
                    <a:lstStyle/>
                    <a:p>
                      <a:pPr algn="ctr"/>
                      <a:r>
                        <a:rPr lang="en-US" sz="1100"/>
                        <a:t>Moderat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5,7)</a:t>
                      </a:r>
                    </a:p>
                    <a:p>
                      <a:pPr algn="ctr"/>
                      <a:endParaRPr lang="en-US" sz="1100"/>
                    </a:p>
                  </a:txBody>
                  <a:tcPr/>
                </a:tc>
                <a:extLst>
                  <a:ext uri="{0D108BD9-81ED-4DB2-BD59-A6C34878D82A}">
                    <a16:rowId xmlns:a16="http://schemas.microsoft.com/office/drawing/2014/main" val="576106234"/>
                  </a:ext>
                </a:extLst>
              </a:tr>
              <a:tr h="225426">
                <a:tc>
                  <a:txBody>
                    <a:bodyPr/>
                    <a:lstStyle/>
                    <a:p>
                      <a:pPr algn="ctr"/>
                      <a:r>
                        <a:rPr lang="en-US" sz="1100"/>
                        <a:t>Promising</a:t>
                      </a:r>
                    </a:p>
                  </a:txBody>
                  <a:tcPr/>
                </a:tc>
                <a:tc>
                  <a:txBody>
                    <a:bodyPr/>
                    <a:lstStyle/>
                    <a:p>
                      <a:pPr algn="ctr"/>
                      <a:r>
                        <a:rPr lang="en-US" sz="1100"/>
                        <a:t>Low</a:t>
                      </a:r>
                    </a:p>
                  </a:txBody>
                  <a:tcPr/>
                </a:tc>
                <a:tc>
                  <a:txBody>
                    <a:bodyPr/>
                    <a:lstStyle/>
                    <a:p>
                      <a:pPr algn="ctr"/>
                      <a:r>
                        <a:rPr lang="en-US" sz="1100"/>
                        <a:t>Low</a:t>
                      </a:r>
                    </a:p>
                  </a:txBody>
                  <a:tcPr/>
                </a:tc>
                <a:tc>
                  <a:txBody>
                    <a:bodyPr/>
                    <a:lstStyle/>
                    <a:p>
                      <a:pPr algn="ctr"/>
                      <a:r>
                        <a:rPr lang="en-US" sz="1100"/>
                        <a:t>Low</a:t>
                      </a:r>
                    </a:p>
                  </a:txBody>
                  <a:tcPr/>
                </a:tc>
                <a:tc>
                  <a:txBody>
                    <a:bodyPr/>
                    <a:lstStyle/>
                    <a:p>
                      <a:pPr algn="ctr"/>
                      <a:r>
                        <a:rPr lang="en-US" sz="1100"/>
                        <a:t>[3,5)</a:t>
                      </a:r>
                    </a:p>
                  </a:txBody>
                  <a:tcPr/>
                </a:tc>
                <a:extLst>
                  <a:ext uri="{0D108BD9-81ED-4DB2-BD59-A6C34878D82A}">
                    <a16:rowId xmlns:a16="http://schemas.microsoft.com/office/drawing/2014/main" val="414904391"/>
                  </a:ext>
                </a:extLst>
              </a:tr>
            </a:tbl>
          </a:graphicData>
        </a:graphic>
      </p:graphicFrame>
      <p:sp>
        <p:nvSpPr>
          <p:cNvPr id="10" name="TextBox 9">
            <a:extLst>
              <a:ext uri="{FF2B5EF4-FFF2-40B4-BE49-F238E27FC236}">
                <a16:creationId xmlns:a16="http://schemas.microsoft.com/office/drawing/2014/main" id="{24F14525-A068-FC90-ECD7-588479C6EA86}"/>
              </a:ext>
            </a:extLst>
          </p:cNvPr>
          <p:cNvSpPr txBox="1"/>
          <p:nvPr/>
        </p:nvSpPr>
        <p:spPr>
          <a:xfrm>
            <a:off x="281213" y="245004"/>
            <a:ext cx="5793971" cy="584775"/>
          </a:xfrm>
          <a:prstGeom prst="rect">
            <a:avLst/>
          </a:prstGeom>
          <a:noFill/>
        </p:spPr>
        <p:txBody>
          <a:bodyPr wrap="square" lIns="91440" tIns="45720" rIns="91440" bIns="45720" rtlCol="0" anchor="t">
            <a:spAutoFit/>
          </a:bodyPr>
          <a:lstStyle/>
          <a:p>
            <a:r>
              <a:rPr lang="en-US" altLang="zh-CN" sz="3200" b="1">
                <a:solidFill>
                  <a:schemeClr val="bg1"/>
                </a:solidFill>
                <a:latin typeface="DM Sans"/>
              </a:rPr>
              <a:t>Customer</a:t>
            </a:r>
            <a:r>
              <a:rPr lang="zh-CN" altLang="en-US" sz="3200"/>
              <a:t> </a:t>
            </a:r>
            <a:r>
              <a:rPr lang="en-US" altLang="zh-CN" sz="3200" b="1">
                <a:solidFill>
                  <a:schemeClr val="bg1"/>
                </a:solidFill>
                <a:latin typeface="DM Sans"/>
              </a:rPr>
              <a:t>Segmentations</a:t>
            </a:r>
            <a:endParaRPr lang="en-US" sz="3200" b="1">
              <a:solidFill>
                <a:schemeClr val="bg1"/>
              </a:solidFill>
              <a:latin typeface="DM Sans"/>
            </a:endParaRPr>
          </a:p>
        </p:txBody>
      </p:sp>
      <p:sp>
        <p:nvSpPr>
          <p:cNvPr id="12" name="Rounded Rectangle 11">
            <a:extLst>
              <a:ext uri="{FF2B5EF4-FFF2-40B4-BE49-F238E27FC236}">
                <a16:creationId xmlns:a16="http://schemas.microsoft.com/office/drawing/2014/main" id="{E3BF51AB-A294-0E1E-8DF0-6267E0F5A856}"/>
              </a:ext>
            </a:extLst>
          </p:cNvPr>
          <p:cNvSpPr/>
          <p:nvPr/>
        </p:nvSpPr>
        <p:spPr>
          <a:xfrm>
            <a:off x="281213" y="1382299"/>
            <a:ext cx="3443049" cy="1255222"/>
          </a:xfrm>
          <a:prstGeom prst="roundRect">
            <a:avLst/>
          </a:prstGeom>
          <a:noFill/>
          <a:ln>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7" name="TextBox 16">
            <a:extLst>
              <a:ext uri="{FF2B5EF4-FFF2-40B4-BE49-F238E27FC236}">
                <a16:creationId xmlns:a16="http://schemas.microsoft.com/office/drawing/2014/main" id="{04CC056C-3B9B-AB19-9E0B-71F292C80B4B}"/>
              </a:ext>
            </a:extLst>
          </p:cNvPr>
          <p:cNvSpPr txBox="1"/>
          <p:nvPr/>
        </p:nvSpPr>
        <p:spPr>
          <a:xfrm>
            <a:off x="4834850" y="3260230"/>
            <a:ext cx="3108960" cy="738664"/>
          </a:xfrm>
          <a:prstGeom prst="rect">
            <a:avLst/>
          </a:prstGeom>
          <a:solidFill>
            <a:schemeClr val="accent2"/>
          </a:solidFill>
          <a:ln>
            <a:noFill/>
          </a:ln>
        </p:spPr>
        <p:txBody>
          <a:bodyPr wrap="square" rtlCol="0">
            <a:spAutoFit/>
          </a:bodyPr>
          <a:lstStyle/>
          <a:p>
            <a:r>
              <a:rPr lang="en-US" altLang="zh-CN">
                <a:solidFill>
                  <a:schemeClr val="bg1"/>
                </a:solidFill>
              </a:rPr>
              <a:t>Fairly</a:t>
            </a:r>
            <a:r>
              <a:rPr lang="zh-CN" altLang="en-US">
                <a:solidFill>
                  <a:schemeClr val="bg1"/>
                </a:solidFill>
              </a:rPr>
              <a:t> </a:t>
            </a:r>
            <a:r>
              <a:rPr lang="en-US" altLang="zh-CN">
                <a:solidFill>
                  <a:schemeClr val="bg1"/>
                </a:solidFill>
              </a:rPr>
              <a:t>solid</a:t>
            </a:r>
            <a:r>
              <a:rPr lang="zh-CN" altLang="en-US">
                <a:solidFill>
                  <a:schemeClr val="bg1"/>
                </a:solidFill>
              </a:rPr>
              <a:t> </a:t>
            </a:r>
            <a:r>
              <a:rPr lang="en-US" altLang="zh-CN">
                <a:solidFill>
                  <a:schemeClr val="bg1"/>
                </a:solidFill>
              </a:rPr>
              <a:t>customer</a:t>
            </a:r>
            <a:r>
              <a:rPr lang="zh-CN" altLang="en-US">
                <a:solidFill>
                  <a:schemeClr val="bg1"/>
                </a:solidFill>
              </a:rPr>
              <a:t> </a:t>
            </a:r>
            <a:r>
              <a:rPr lang="en-US" altLang="zh-CN">
                <a:solidFill>
                  <a:schemeClr val="bg1"/>
                </a:solidFill>
              </a:rPr>
              <a:t>base</a:t>
            </a:r>
          </a:p>
          <a:p>
            <a:pPr marL="285750" indent="-285750">
              <a:buClr>
                <a:schemeClr val="bg1"/>
              </a:buClr>
              <a:buFont typeface="Arial" panose="020B0604020202020204" pitchFamily="34" charset="0"/>
              <a:buChar char="•"/>
            </a:pPr>
            <a:r>
              <a:rPr lang="en-US" altLang="zh-CN">
                <a:solidFill>
                  <a:schemeClr val="bg1"/>
                </a:solidFill>
              </a:rPr>
              <a:t>With</a:t>
            </a:r>
            <a:r>
              <a:rPr lang="zh-CN" altLang="en-US">
                <a:solidFill>
                  <a:schemeClr val="bg1"/>
                </a:solidFill>
              </a:rPr>
              <a:t> </a:t>
            </a:r>
            <a:r>
              <a:rPr lang="en-US" altLang="zh-CN">
                <a:solidFill>
                  <a:schemeClr val="bg1"/>
                </a:solidFill>
              </a:rPr>
              <a:t>~70%</a:t>
            </a:r>
            <a:r>
              <a:rPr lang="zh-CN" altLang="en-US">
                <a:solidFill>
                  <a:schemeClr val="bg1"/>
                </a:solidFill>
              </a:rPr>
              <a:t> </a:t>
            </a:r>
            <a:r>
              <a:rPr lang="en-US" altLang="zh-CN">
                <a:solidFill>
                  <a:schemeClr val="bg1"/>
                </a:solidFill>
              </a:rPr>
              <a:t>customers</a:t>
            </a:r>
            <a:r>
              <a:rPr lang="zh-CN" altLang="en-US">
                <a:solidFill>
                  <a:schemeClr val="bg1"/>
                </a:solidFill>
              </a:rPr>
              <a:t> </a:t>
            </a:r>
            <a:r>
              <a:rPr lang="en-US" altLang="zh-CN">
                <a:solidFill>
                  <a:schemeClr val="bg1"/>
                </a:solidFill>
              </a:rPr>
              <a:t>show</a:t>
            </a:r>
            <a:r>
              <a:rPr lang="zh-CN" altLang="en-US">
                <a:solidFill>
                  <a:schemeClr val="bg1"/>
                </a:solidFill>
              </a:rPr>
              <a:t> </a:t>
            </a:r>
            <a:r>
              <a:rPr lang="en-US" altLang="zh-CN">
                <a:solidFill>
                  <a:schemeClr val="bg1"/>
                </a:solidFill>
              </a:rPr>
              <a:t>their</a:t>
            </a:r>
            <a:r>
              <a:rPr lang="zh-CN" altLang="en-US">
                <a:solidFill>
                  <a:schemeClr val="bg1"/>
                </a:solidFill>
              </a:rPr>
              <a:t> </a:t>
            </a:r>
            <a:r>
              <a:rPr lang="en-US" altLang="zh-CN">
                <a:solidFill>
                  <a:schemeClr val="bg1"/>
                </a:solidFill>
              </a:rPr>
              <a:t>loyalty</a:t>
            </a:r>
            <a:r>
              <a:rPr lang="zh-CN" altLang="en-US">
                <a:solidFill>
                  <a:schemeClr val="bg1"/>
                </a:solidFill>
              </a:rPr>
              <a:t> </a:t>
            </a:r>
            <a:r>
              <a:rPr lang="en-US" altLang="zh-CN">
                <a:solidFill>
                  <a:schemeClr val="bg1"/>
                </a:solidFill>
              </a:rPr>
              <a:t>to</a:t>
            </a:r>
            <a:r>
              <a:rPr lang="zh-CN" altLang="en-US">
                <a:solidFill>
                  <a:schemeClr val="bg1"/>
                </a:solidFill>
              </a:rPr>
              <a:t> </a:t>
            </a:r>
            <a:r>
              <a:rPr lang="en-US" altLang="zh-CN">
                <a:solidFill>
                  <a:schemeClr val="bg1"/>
                </a:solidFill>
              </a:rPr>
              <a:t>the</a:t>
            </a:r>
            <a:r>
              <a:rPr lang="zh-CN" altLang="en-US">
                <a:solidFill>
                  <a:schemeClr val="bg1"/>
                </a:solidFill>
              </a:rPr>
              <a:t> </a:t>
            </a:r>
            <a:r>
              <a:rPr lang="en-US" altLang="zh-CN">
                <a:solidFill>
                  <a:schemeClr val="bg1"/>
                </a:solidFill>
              </a:rPr>
              <a:t>website</a:t>
            </a:r>
            <a:endParaRPr lang="en-US">
              <a:solidFill>
                <a:schemeClr val="bg1"/>
              </a:solidFill>
            </a:endParaRPr>
          </a:p>
        </p:txBody>
      </p:sp>
      <p:cxnSp>
        <p:nvCxnSpPr>
          <p:cNvPr id="21" name="Elbow Connector 20">
            <a:extLst>
              <a:ext uri="{FF2B5EF4-FFF2-40B4-BE49-F238E27FC236}">
                <a16:creationId xmlns:a16="http://schemas.microsoft.com/office/drawing/2014/main" id="{C97D119B-B334-B743-DABA-51BE3837F6DC}"/>
              </a:ext>
            </a:extLst>
          </p:cNvPr>
          <p:cNvCxnSpPr>
            <a:cxnSpLocks/>
            <a:stCxn id="12" idx="3"/>
            <a:endCxn id="17" idx="1"/>
          </p:cNvCxnSpPr>
          <p:nvPr/>
        </p:nvCxnSpPr>
        <p:spPr>
          <a:xfrm>
            <a:off x="3724262" y="2009910"/>
            <a:ext cx="1110588" cy="1619652"/>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29" name="Rounded Rectangle 28">
            <a:extLst>
              <a:ext uri="{FF2B5EF4-FFF2-40B4-BE49-F238E27FC236}">
                <a16:creationId xmlns:a16="http://schemas.microsoft.com/office/drawing/2014/main" id="{1E10CB4A-E468-C6B9-4D29-95DF35456E45}"/>
              </a:ext>
            </a:extLst>
          </p:cNvPr>
          <p:cNvSpPr/>
          <p:nvPr/>
        </p:nvSpPr>
        <p:spPr>
          <a:xfrm>
            <a:off x="390698" y="2793076"/>
            <a:ext cx="2593571" cy="1130531"/>
          </a:xfrm>
          <a:prstGeom prst="roundRect">
            <a:avLst/>
          </a:prstGeom>
          <a:noFill/>
          <a:ln w="25400" cap="flat" cmpd="sng" algn="ctr">
            <a:solidFill>
              <a:srgbClr val="FFC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
        <p:nvSpPr>
          <p:cNvPr id="30" name="TextBox 29">
            <a:extLst>
              <a:ext uri="{FF2B5EF4-FFF2-40B4-BE49-F238E27FC236}">
                <a16:creationId xmlns:a16="http://schemas.microsoft.com/office/drawing/2014/main" id="{4D1FFA59-22A7-2047-3841-2276F7CC9325}"/>
              </a:ext>
            </a:extLst>
          </p:cNvPr>
          <p:cNvSpPr txBox="1"/>
          <p:nvPr/>
        </p:nvSpPr>
        <p:spPr>
          <a:xfrm>
            <a:off x="4834850" y="4073256"/>
            <a:ext cx="3108960" cy="738664"/>
          </a:xfrm>
          <a:prstGeom prst="rect">
            <a:avLst/>
          </a:prstGeom>
          <a:solidFill>
            <a:schemeClr val="accent2"/>
          </a:solidFill>
        </p:spPr>
        <p:txBody>
          <a:bodyPr wrap="square" rtlCol="0">
            <a:spAutoFit/>
          </a:bodyPr>
          <a:lstStyle/>
          <a:p>
            <a:r>
              <a:rPr lang="en-US" altLang="zh-CN">
                <a:solidFill>
                  <a:schemeClr val="bg1"/>
                </a:solidFill>
                <a:latin typeface="DM Sans" pitchFamily="2" charset="77"/>
              </a:rPr>
              <a:t>Recommendation</a:t>
            </a:r>
            <a:r>
              <a:rPr lang="zh-CN" altLang="en-US">
                <a:solidFill>
                  <a:schemeClr val="bg1"/>
                </a:solidFill>
                <a:latin typeface="DM Sans" pitchFamily="2" charset="77"/>
              </a:rPr>
              <a:t> </a:t>
            </a:r>
            <a:r>
              <a:rPr lang="en-US" altLang="zh-CN">
                <a:solidFill>
                  <a:schemeClr val="bg1"/>
                </a:solidFill>
                <a:latin typeface="DM Sans" pitchFamily="2" charset="77"/>
              </a:rPr>
              <a:t>strategy</a:t>
            </a:r>
            <a:r>
              <a:rPr lang="zh-CN" altLang="en-US">
                <a:solidFill>
                  <a:schemeClr val="bg1"/>
                </a:solidFill>
                <a:latin typeface="DM Sans" pitchFamily="2" charset="77"/>
              </a:rPr>
              <a:t> </a:t>
            </a:r>
            <a:r>
              <a:rPr lang="en-US" altLang="zh-CN">
                <a:solidFill>
                  <a:schemeClr val="bg1"/>
                </a:solidFill>
                <a:latin typeface="DM Sans" pitchFamily="2" charset="77"/>
              </a:rPr>
              <a:t>needed</a:t>
            </a:r>
            <a:r>
              <a:rPr lang="zh-CN" altLang="en-US">
                <a:solidFill>
                  <a:schemeClr val="bg1"/>
                </a:solidFill>
                <a:latin typeface="DM Sans" pitchFamily="2" charset="77"/>
              </a:rPr>
              <a:t> </a:t>
            </a:r>
            <a:endParaRPr lang="en-US" altLang="zh-CN">
              <a:solidFill>
                <a:schemeClr val="bg1"/>
              </a:solidFill>
              <a:latin typeface="DM Sans" pitchFamily="2" charset="77"/>
            </a:endParaRPr>
          </a:p>
          <a:p>
            <a:pPr marL="285750" indent="-285750">
              <a:buClr>
                <a:schemeClr val="bg1"/>
              </a:buClr>
              <a:buFont typeface="Arial" panose="020B0604020202020204" pitchFamily="34" charset="0"/>
              <a:buChar char="•"/>
            </a:pPr>
            <a:r>
              <a:rPr lang="en-US" altLang="zh-CN">
                <a:solidFill>
                  <a:schemeClr val="bg1"/>
                </a:solidFill>
                <a:latin typeface="DM Sans" pitchFamily="2" charset="77"/>
              </a:rPr>
              <a:t>Stimulate</a:t>
            </a:r>
            <a:r>
              <a:rPr lang="zh-CN" altLang="en-US">
                <a:solidFill>
                  <a:schemeClr val="bg1"/>
                </a:solidFill>
                <a:latin typeface="DM Sans" pitchFamily="2" charset="77"/>
              </a:rPr>
              <a:t> </a:t>
            </a:r>
            <a:r>
              <a:rPr lang="en-US" altLang="zh-CN">
                <a:solidFill>
                  <a:schemeClr val="bg1"/>
                </a:solidFill>
                <a:latin typeface="DM Sans" pitchFamily="2" charset="77"/>
              </a:rPr>
              <a:t>potential</a:t>
            </a:r>
            <a:r>
              <a:rPr lang="zh-CN" altLang="en-US">
                <a:solidFill>
                  <a:schemeClr val="bg1"/>
                </a:solidFill>
                <a:latin typeface="DM Sans" pitchFamily="2" charset="77"/>
              </a:rPr>
              <a:t> </a:t>
            </a:r>
            <a:r>
              <a:rPr lang="en-US" altLang="zh-CN">
                <a:solidFill>
                  <a:schemeClr val="bg1"/>
                </a:solidFill>
                <a:latin typeface="DM Sans" pitchFamily="2" charset="77"/>
              </a:rPr>
              <a:t>loyal</a:t>
            </a:r>
            <a:r>
              <a:rPr lang="zh-CN" altLang="en-US">
                <a:solidFill>
                  <a:schemeClr val="bg1"/>
                </a:solidFill>
                <a:latin typeface="DM Sans" pitchFamily="2" charset="77"/>
              </a:rPr>
              <a:t> </a:t>
            </a:r>
            <a:r>
              <a:rPr lang="en-US" altLang="zh-CN">
                <a:solidFill>
                  <a:schemeClr val="bg1"/>
                </a:solidFill>
                <a:latin typeface="DM Sans" pitchFamily="2" charset="77"/>
              </a:rPr>
              <a:t>customer’s</a:t>
            </a:r>
            <a:r>
              <a:rPr lang="zh-CN" altLang="en-US">
                <a:solidFill>
                  <a:schemeClr val="bg1"/>
                </a:solidFill>
                <a:latin typeface="DM Sans" pitchFamily="2" charset="77"/>
              </a:rPr>
              <a:t> </a:t>
            </a:r>
            <a:r>
              <a:rPr lang="en-US" altLang="zh-CN">
                <a:solidFill>
                  <a:schemeClr val="bg1"/>
                </a:solidFill>
                <a:latin typeface="DM Sans" pitchFamily="2" charset="77"/>
              </a:rPr>
              <a:t>purchase</a:t>
            </a:r>
            <a:r>
              <a:rPr lang="zh-CN" altLang="en-US">
                <a:solidFill>
                  <a:schemeClr val="bg1"/>
                </a:solidFill>
                <a:latin typeface="DM Sans" pitchFamily="2" charset="77"/>
              </a:rPr>
              <a:t>  </a:t>
            </a:r>
            <a:endParaRPr lang="en-US">
              <a:solidFill>
                <a:schemeClr val="bg1"/>
              </a:solidFill>
              <a:latin typeface="DM Sans" pitchFamily="2" charset="77"/>
            </a:endParaRPr>
          </a:p>
        </p:txBody>
      </p:sp>
      <p:cxnSp>
        <p:nvCxnSpPr>
          <p:cNvPr id="34" name="Elbow Connector 33">
            <a:extLst>
              <a:ext uri="{FF2B5EF4-FFF2-40B4-BE49-F238E27FC236}">
                <a16:creationId xmlns:a16="http://schemas.microsoft.com/office/drawing/2014/main" id="{4591703A-3F9B-7047-8D07-BE9C07360446}"/>
              </a:ext>
            </a:extLst>
          </p:cNvPr>
          <p:cNvCxnSpPr>
            <a:stCxn id="29" idx="2"/>
            <a:endCxn id="30" idx="1"/>
          </p:cNvCxnSpPr>
          <p:nvPr/>
        </p:nvCxnSpPr>
        <p:spPr>
          <a:xfrm rot="16200000" flipH="1">
            <a:off x="3001677" y="2609414"/>
            <a:ext cx="518981" cy="3147366"/>
          </a:xfrm>
          <a:prstGeom prst="bentConnector2">
            <a:avLst/>
          </a:prstGeom>
          <a:ln>
            <a:tailEnd type="triangle"/>
          </a:ln>
        </p:spPr>
        <p:style>
          <a:lnRef idx="2">
            <a:schemeClr val="accent5"/>
          </a:lnRef>
          <a:fillRef idx="0">
            <a:schemeClr val="accent5"/>
          </a:fillRef>
          <a:effectRef idx="1">
            <a:schemeClr val="accent5"/>
          </a:effectRef>
          <a:fontRef idx="minor">
            <a:schemeClr val="tx1"/>
          </a:fontRef>
        </p:style>
      </p:cxnSp>
      <p:sp>
        <p:nvSpPr>
          <p:cNvPr id="3" name="文本框 2">
            <a:extLst>
              <a:ext uri="{FF2B5EF4-FFF2-40B4-BE49-F238E27FC236}">
                <a16:creationId xmlns:a16="http://schemas.microsoft.com/office/drawing/2014/main" id="{3D85E181-EE86-2903-0BE1-F02BD5858A55}"/>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4</a:t>
            </a:r>
          </a:p>
        </p:txBody>
      </p:sp>
    </p:spTree>
    <p:extLst>
      <p:ext uri="{BB962C8B-B14F-4D97-AF65-F5344CB8AC3E}">
        <p14:creationId xmlns:p14="http://schemas.microsoft.com/office/powerpoint/2010/main" val="9755071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867F40A-838D-AA26-DDDD-26DA001FE94F}"/>
              </a:ext>
            </a:extLst>
          </p:cNvPr>
          <p:cNvSpPr txBox="1"/>
          <p:nvPr/>
        </p:nvSpPr>
        <p:spPr>
          <a:xfrm>
            <a:off x="304526" y="291931"/>
            <a:ext cx="7406641" cy="584775"/>
          </a:xfrm>
          <a:prstGeom prst="rect">
            <a:avLst/>
          </a:prstGeom>
          <a:noFill/>
        </p:spPr>
        <p:txBody>
          <a:bodyPr wrap="square" rtlCol="0">
            <a:spAutoFit/>
          </a:bodyPr>
          <a:lstStyle/>
          <a:p>
            <a:r>
              <a:rPr lang="en-US" sz="3200" b="1">
                <a:solidFill>
                  <a:schemeClr val="bg1"/>
                </a:solidFill>
                <a:latin typeface="DM Sans" pitchFamily="2" charset="77"/>
              </a:rPr>
              <a:t>Inc</a:t>
            </a:r>
            <a:r>
              <a:rPr lang="en-US" altLang="zh-CN" sz="3200" b="1">
                <a:solidFill>
                  <a:schemeClr val="bg1"/>
                </a:solidFill>
                <a:latin typeface="DM Sans" pitchFamily="2" charset="77"/>
              </a:rPr>
              <a:t>entive</a:t>
            </a:r>
            <a:r>
              <a:rPr lang="zh-CN" altLang="en-US"/>
              <a:t> </a:t>
            </a:r>
            <a:r>
              <a:rPr lang="en-US" altLang="zh-CN" sz="3200" b="1">
                <a:solidFill>
                  <a:schemeClr val="bg1"/>
                </a:solidFill>
                <a:latin typeface="DM Sans" pitchFamily="2" charset="77"/>
              </a:rPr>
              <a:t>Paired</a:t>
            </a:r>
            <a:r>
              <a:rPr lang="zh-CN" altLang="en-US"/>
              <a:t> </a:t>
            </a:r>
            <a:r>
              <a:rPr lang="en-US" altLang="zh-CN" sz="3200" b="1">
                <a:solidFill>
                  <a:schemeClr val="bg1"/>
                </a:solidFill>
                <a:latin typeface="DM Sans" pitchFamily="2" charset="77"/>
              </a:rPr>
              <a:t>with</a:t>
            </a:r>
            <a:r>
              <a:rPr lang="zh-CN" altLang="en-US"/>
              <a:t> </a:t>
            </a:r>
            <a:r>
              <a:rPr lang="en-US" altLang="zh-CN" sz="3200" b="1">
                <a:solidFill>
                  <a:schemeClr val="bg1"/>
                </a:solidFill>
                <a:latin typeface="DM Sans" pitchFamily="2" charset="77"/>
              </a:rPr>
              <a:t>Segmentations</a:t>
            </a:r>
            <a:endParaRPr lang="en-US" sz="3200" b="1">
              <a:solidFill>
                <a:schemeClr val="bg1"/>
              </a:solidFill>
              <a:latin typeface="DM Sans" pitchFamily="2" charset="77"/>
            </a:endParaRPr>
          </a:p>
        </p:txBody>
      </p:sp>
      <p:pic>
        <p:nvPicPr>
          <p:cNvPr id="8" name="Picture 7">
            <a:extLst>
              <a:ext uri="{FF2B5EF4-FFF2-40B4-BE49-F238E27FC236}">
                <a16:creationId xmlns:a16="http://schemas.microsoft.com/office/drawing/2014/main" id="{A882F1E7-AA82-B84A-30F3-43B1A3A5E117}"/>
              </a:ext>
            </a:extLst>
          </p:cNvPr>
          <p:cNvPicPr>
            <a:picLocks noChangeAspect="1"/>
          </p:cNvPicPr>
          <p:nvPr/>
        </p:nvPicPr>
        <p:blipFill>
          <a:blip r:embed="rId3"/>
          <a:stretch>
            <a:fillRect/>
          </a:stretch>
        </p:blipFill>
        <p:spPr>
          <a:xfrm>
            <a:off x="304526" y="1490048"/>
            <a:ext cx="4029446" cy="2774373"/>
          </a:xfrm>
          <a:prstGeom prst="rect">
            <a:avLst/>
          </a:prstGeom>
        </p:spPr>
      </p:pic>
      <p:sp>
        <p:nvSpPr>
          <p:cNvPr id="9" name="Rounded Rectangle 8">
            <a:extLst>
              <a:ext uri="{FF2B5EF4-FFF2-40B4-BE49-F238E27FC236}">
                <a16:creationId xmlns:a16="http://schemas.microsoft.com/office/drawing/2014/main" id="{43742128-0609-66AD-D3E6-D060D9140F4B}"/>
              </a:ext>
            </a:extLst>
          </p:cNvPr>
          <p:cNvSpPr/>
          <p:nvPr/>
        </p:nvSpPr>
        <p:spPr>
          <a:xfrm>
            <a:off x="3336446" y="1673158"/>
            <a:ext cx="803292" cy="532014"/>
          </a:xfrm>
          <a:prstGeom prst="roundRect">
            <a:avLst/>
          </a:prstGeom>
          <a:noFill/>
          <a:ln w="2857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10" name="TextBox 9">
            <a:extLst>
              <a:ext uri="{FF2B5EF4-FFF2-40B4-BE49-F238E27FC236}">
                <a16:creationId xmlns:a16="http://schemas.microsoft.com/office/drawing/2014/main" id="{0A0B9E8B-699C-B78C-5E8F-B216592064DF}"/>
              </a:ext>
            </a:extLst>
          </p:cNvPr>
          <p:cNvSpPr txBox="1"/>
          <p:nvPr/>
        </p:nvSpPr>
        <p:spPr>
          <a:xfrm>
            <a:off x="5022645" y="1251066"/>
            <a:ext cx="3821628" cy="523220"/>
          </a:xfrm>
          <a:prstGeom prst="rect">
            <a:avLst/>
          </a:prstGeom>
          <a:solidFill>
            <a:schemeClr val="accent2"/>
          </a:solidFill>
        </p:spPr>
        <p:txBody>
          <a:bodyPr wrap="square" rtlCol="0">
            <a:spAutoFit/>
          </a:bodyPr>
          <a:lstStyle/>
          <a:p>
            <a:r>
              <a:rPr lang="en-US" altLang="zh-CN">
                <a:solidFill>
                  <a:schemeClr val="bg1"/>
                </a:solidFill>
              </a:rPr>
              <a:t>Most</a:t>
            </a:r>
            <a:r>
              <a:rPr lang="zh-CN" altLang="en-US">
                <a:solidFill>
                  <a:schemeClr val="bg1"/>
                </a:solidFill>
              </a:rPr>
              <a:t> </a:t>
            </a:r>
            <a:r>
              <a:rPr lang="en-US" altLang="zh-CN">
                <a:solidFill>
                  <a:schemeClr val="bg1"/>
                </a:solidFill>
              </a:rPr>
              <a:t>loyal</a:t>
            </a:r>
            <a:r>
              <a:rPr lang="zh-CN" altLang="en-US">
                <a:solidFill>
                  <a:schemeClr val="bg1"/>
                </a:solidFill>
              </a:rPr>
              <a:t> </a:t>
            </a:r>
            <a:r>
              <a:rPr lang="en-US" altLang="zh-CN">
                <a:solidFill>
                  <a:schemeClr val="bg1"/>
                </a:solidFill>
              </a:rPr>
              <a:t>customer</a:t>
            </a:r>
            <a:r>
              <a:rPr lang="zh-CN" altLang="en-US">
                <a:solidFill>
                  <a:schemeClr val="bg1"/>
                </a:solidFill>
              </a:rPr>
              <a:t> </a:t>
            </a:r>
            <a:r>
              <a:rPr lang="en-US" altLang="zh-CN">
                <a:solidFill>
                  <a:schemeClr val="bg1"/>
                </a:solidFill>
              </a:rPr>
              <a:t>segmentation</a:t>
            </a:r>
            <a:r>
              <a:rPr lang="zh-CN" altLang="en-US">
                <a:solidFill>
                  <a:schemeClr val="bg1"/>
                </a:solidFill>
              </a:rPr>
              <a:t> </a:t>
            </a:r>
            <a:r>
              <a:rPr lang="en-US" altLang="zh-CN">
                <a:solidFill>
                  <a:schemeClr val="bg1"/>
                </a:solidFill>
              </a:rPr>
              <a:t>has</a:t>
            </a:r>
            <a:r>
              <a:rPr lang="zh-CN" altLang="en-US">
                <a:solidFill>
                  <a:schemeClr val="bg1"/>
                </a:solidFill>
              </a:rPr>
              <a:t> </a:t>
            </a:r>
            <a:r>
              <a:rPr lang="en-US" altLang="zh-CN">
                <a:solidFill>
                  <a:schemeClr val="bg1"/>
                </a:solidFill>
              </a:rPr>
              <a:t>the</a:t>
            </a:r>
            <a:r>
              <a:rPr lang="zh-CN" altLang="en-US">
                <a:solidFill>
                  <a:schemeClr val="bg1"/>
                </a:solidFill>
              </a:rPr>
              <a:t> </a:t>
            </a:r>
            <a:r>
              <a:rPr lang="en-US" altLang="zh-CN">
                <a:solidFill>
                  <a:schemeClr val="bg1"/>
                </a:solidFill>
              </a:rPr>
              <a:t>lowest</a:t>
            </a:r>
            <a:r>
              <a:rPr lang="zh-CN" altLang="en-US">
                <a:solidFill>
                  <a:schemeClr val="bg1"/>
                </a:solidFill>
              </a:rPr>
              <a:t> </a:t>
            </a:r>
            <a:r>
              <a:rPr lang="en-US" altLang="zh-CN">
                <a:solidFill>
                  <a:schemeClr val="bg1"/>
                </a:solidFill>
              </a:rPr>
              <a:t>average</a:t>
            </a:r>
            <a:r>
              <a:rPr lang="zh-CN" altLang="en-US">
                <a:solidFill>
                  <a:schemeClr val="bg1"/>
                </a:solidFill>
              </a:rPr>
              <a:t> </a:t>
            </a:r>
            <a:r>
              <a:rPr lang="en-US" altLang="zh-CN">
                <a:solidFill>
                  <a:schemeClr val="bg1"/>
                </a:solidFill>
              </a:rPr>
              <a:t>review</a:t>
            </a:r>
            <a:r>
              <a:rPr lang="zh-CN" altLang="en-US">
                <a:solidFill>
                  <a:schemeClr val="bg1"/>
                </a:solidFill>
              </a:rPr>
              <a:t> </a:t>
            </a:r>
            <a:r>
              <a:rPr lang="en-US" altLang="zh-CN">
                <a:solidFill>
                  <a:schemeClr val="bg1"/>
                </a:solidFill>
              </a:rPr>
              <a:t>score</a:t>
            </a:r>
            <a:endParaRPr lang="en-US">
              <a:solidFill>
                <a:schemeClr val="bg1"/>
              </a:solidFill>
            </a:endParaRPr>
          </a:p>
        </p:txBody>
      </p:sp>
      <p:cxnSp>
        <p:nvCxnSpPr>
          <p:cNvPr id="12" name="Elbow Connector 11">
            <a:extLst>
              <a:ext uri="{FF2B5EF4-FFF2-40B4-BE49-F238E27FC236}">
                <a16:creationId xmlns:a16="http://schemas.microsoft.com/office/drawing/2014/main" id="{B7F2261C-5A35-5530-A1A0-7F616631447B}"/>
              </a:ext>
            </a:extLst>
          </p:cNvPr>
          <p:cNvCxnSpPr>
            <a:cxnSpLocks/>
            <a:stCxn id="9" idx="3"/>
            <a:endCxn id="10" idx="1"/>
          </p:cNvCxnSpPr>
          <p:nvPr/>
        </p:nvCxnSpPr>
        <p:spPr>
          <a:xfrm flipV="1">
            <a:off x="4139738" y="1512676"/>
            <a:ext cx="882907" cy="42648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15" name="TextBox 14">
            <a:extLst>
              <a:ext uri="{FF2B5EF4-FFF2-40B4-BE49-F238E27FC236}">
                <a16:creationId xmlns:a16="http://schemas.microsoft.com/office/drawing/2014/main" id="{E2F3A4E0-CCC0-0280-67A6-DCE68C045A28}"/>
              </a:ext>
            </a:extLst>
          </p:cNvPr>
          <p:cNvSpPr txBox="1"/>
          <p:nvPr/>
        </p:nvSpPr>
        <p:spPr>
          <a:xfrm>
            <a:off x="5749366" y="2030387"/>
            <a:ext cx="3090108" cy="2677656"/>
          </a:xfrm>
          <a:prstGeom prst="rect">
            <a:avLst/>
          </a:prstGeom>
          <a:solidFill>
            <a:schemeClr val="accent2"/>
          </a:solidFill>
        </p:spPr>
        <p:txBody>
          <a:bodyPr wrap="square" rtlCol="0">
            <a:spAutoFit/>
          </a:bodyPr>
          <a:lstStyle/>
          <a:p>
            <a:pPr lvl="1"/>
            <a:r>
              <a:rPr lang="en-US">
                <a:solidFill>
                  <a:schemeClr val="bg1"/>
                </a:solidFill>
              </a:rPr>
              <a:t>Strategy</a:t>
            </a:r>
            <a:r>
              <a:rPr lang="zh-CN" altLang="en-US">
                <a:solidFill>
                  <a:schemeClr val="bg1"/>
                </a:solidFill>
              </a:rPr>
              <a:t> </a:t>
            </a:r>
            <a:r>
              <a:rPr lang="en-US" altLang="zh-CN">
                <a:solidFill>
                  <a:schemeClr val="bg1"/>
                </a:solidFill>
              </a:rPr>
              <a:t>for</a:t>
            </a:r>
            <a:r>
              <a:rPr lang="zh-CN" altLang="en-US">
                <a:solidFill>
                  <a:schemeClr val="bg1"/>
                </a:solidFill>
              </a:rPr>
              <a:t> </a:t>
            </a:r>
            <a:r>
              <a:rPr lang="en-US" altLang="zh-CN">
                <a:solidFill>
                  <a:schemeClr val="bg1"/>
                </a:solidFill>
              </a:rPr>
              <a:t>this</a:t>
            </a:r>
            <a:r>
              <a:rPr lang="zh-CN" altLang="en-US">
                <a:solidFill>
                  <a:schemeClr val="bg1"/>
                </a:solidFill>
              </a:rPr>
              <a:t> </a:t>
            </a:r>
            <a:r>
              <a:rPr lang="en-US" altLang="zh-CN">
                <a:solidFill>
                  <a:schemeClr val="bg1"/>
                </a:solidFill>
              </a:rPr>
              <a:t>segmentation:</a:t>
            </a:r>
          </a:p>
          <a:p>
            <a:pPr lvl="1"/>
            <a:endParaRPr lang="en-US" altLang="zh-CN">
              <a:solidFill>
                <a:schemeClr val="bg1"/>
              </a:solidFill>
            </a:endParaRPr>
          </a:p>
          <a:p>
            <a:pPr marL="285750" lvl="1" indent="-285750">
              <a:buClr>
                <a:schemeClr val="bg1"/>
              </a:buClr>
              <a:buFont typeface="Arial" panose="020B0604020202020204" pitchFamily="34" charset="0"/>
              <a:buChar char="•"/>
            </a:pPr>
            <a:r>
              <a:rPr lang="en-US">
                <a:solidFill>
                  <a:schemeClr val="bg1"/>
                </a:solidFill>
              </a:rPr>
              <a:t>Seek feedback on products and services to show company value their opinion.</a:t>
            </a:r>
          </a:p>
          <a:p>
            <a:pPr lvl="1">
              <a:buClr>
                <a:schemeClr val="bg1"/>
              </a:buClr>
            </a:pPr>
            <a:endParaRPr lang="en-US">
              <a:solidFill>
                <a:schemeClr val="bg1"/>
              </a:solidFill>
            </a:endParaRPr>
          </a:p>
          <a:p>
            <a:pPr marL="285750" lvl="1" indent="-285750">
              <a:buClr>
                <a:schemeClr val="bg1"/>
              </a:buClr>
              <a:buFont typeface="Arial" panose="020B0604020202020204" pitchFamily="34" charset="0"/>
              <a:buChar char="•"/>
            </a:pPr>
            <a:r>
              <a:rPr lang="en-US">
                <a:solidFill>
                  <a:schemeClr val="bg1"/>
                </a:solidFill>
              </a:rPr>
              <a:t>Offer exclusive loyalty programs or VIP status.</a:t>
            </a:r>
          </a:p>
          <a:p>
            <a:pPr lvl="1">
              <a:buClr>
                <a:schemeClr val="bg1"/>
              </a:buClr>
            </a:pPr>
            <a:endParaRPr lang="en-US">
              <a:solidFill>
                <a:schemeClr val="bg1"/>
              </a:solidFill>
            </a:endParaRPr>
          </a:p>
          <a:p>
            <a:pPr marL="285750" lvl="1" indent="-285750">
              <a:buClr>
                <a:schemeClr val="bg1"/>
              </a:buClr>
              <a:buFont typeface="Arial" panose="020B0604020202020204" pitchFamily="34" charset="0"/>
              <a:buChar char="•"/>
            </a:pPr>
            <a:r>
              <a:rPr lang="en-US">
                <a:solidFill>
                  <a:schemeClr val="bg1"/>
                </a:solidFill>
              </a:rPr>
              <a:t>Provide early access to new products or sales.</a:t>
            </a:r>
          </a:p>
          <a:p>
            <a:endParaRPr lang="en-US">
              <a:solidFill>
                <a:schemeClr val="bg1"/>
              </a:solidFill>
            </a:endParaRPr>
          </a:p>
        </p:txBody>
      </p:sp>
      <p:grpSp>
        <p:nvGrpSpPr>
          <p:cNvPr id="21" name="Google Shape;6253;p90">
            <a:extLst>
              <a:ext uri="{FF2B5EF4-FFF2-40B4-BE49-F238E27FC236}">
                <a16:creationId xmlns:a16="http://schemas.microsoft.com/office/drawing/2014/main" id="{B8FE3F71-DAAC-C847-69E3-4F627943351A}"/>
              </a:ext>
            </a:extLst>
          </p:cNvPr>
          <p:cNvGrpSpPr/>
          <p:nvPr/>
        </p:nvGrpSpPr>
        <p:grpSpPr>
          <a:xfrm>
            <a:off x="4943034" y="2499005"/>
            <a:ext cx="591832" cy="604751"/>
            <a:chOff x="580725" y="3617925"/>
            <a:chExt cx="299325" cy="297375"/>
          </a:xfrm>
          <a:gradFill flip="none" rotWithShape="1">
            <a:gsLst>
              <a:gs pos="0">
                <a:schemeClr val="accent4">
                  <a:lumMod val="50000"/>
                  <a:lumOff val="50000"/>
                </a:schemeClr>
              </a:gs>
              <a:gs pos="45000">
                <a:schemeClr val="tx1">
                  <a:lumMod val="75000"/>
                  <a:lumOff val="25000"/>
                </a:schemeClr>
              </a:gs>
              <a:gs pos="100000">
                <a:schemeClr val="accent2">
                  <a:tint val="23500"/>
                  <a:satMod val="160000"/>
                </a:schemeClr>
              </a:gs>
            </a:gsLst>
            <a:lin ang="2700000" scaled="1"/>
            <a:tileRect/>
          </a:gradFill>
        </p:grpSpPr>
        <p:sp>
          <p:nvSpPr>
            <p:cNvPr id="22" name="Google Shape;6254;p90">
              <a:extLst>
                <a:ext uri="{FF2B5EF4-FFF2-40B4-BE49-F238E27FC236}">
                  <a16:creationId xmlns:a16="http://schemas.microsoft.com/office/drawing/2014/main" id="{2924DE31-429B-F247-167D-2B731D2C21BC}"/>
                </a:ext>
              </a:extLst>
            </p:cNvPr>
            <p:cNvSpPr/>
            <p:nvPr/>
          </p:nvSpPr>
          <p:spPr>
            <a:xfrm>
              <a:off x="609075" y="3662050"/>
              <a:ext cx="51225" cy="51200"/>
            </a:xfrm>
            <a:custGeom>
              <a:avLst/>
              <a:gdLst/>
              <a:ahLst/>
              <a:cxnLst/>
              <a:rect l="l" t="t" r="r" b="b"/>
              <a:pathLst>
                <a:path w="2049" h="2048" extrusionOk="0">
                  <a:moveTo>
                    <a:pt x="1041" y="0"/>
                  </a:moveTo>
                  <a:cubicBezTo>
                    <a:pt x="473" y="0"/>
                    <a:pt x="1" y="473"/>
                    <a:pt x="1" y="1040"/>
                  </a:cubicBezTo>
                  <a:cubicBezTo>
                    <a:pt x="1" y="1607"/>
                    <a:pt x="473" y="2048"/>
                    <a:pt x="1041" y="2048"/>
                  </a:cubicBezTo>
                  <a:cubicBezTo>
                    <a:pt x="1608" y="2048"/>
                    <a:pt x="2049" y="1607"/>
                    <a:pt x="2049" y="1040"/>
                  </a:cubicBezTo>
                  <a:cubicBezTo>
                    <a:pt x="2049" y="473"/>
                    <a:pt x="1608" y="0"/>
                    <a:pt x="10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255;p90">
              <a:extLst>
                <a:ext uri="{FF2B5EF4-FFF2-40B4-BE49-F238E27FC236}">
                  <a16:creationId xmlns:a16="http://schemas.microsoft.com/office/drawing/2014/main" id="{739C7014-0940-89BC-DDE8-1D3946D69478}"/>
                </a:ext>
              </a:extLst>
            </p:cNvPr>
            <p:cNvSpPr/>
            <p:nvPr/>
          </p:nvSpPr>
          <p:spPr>
            <a:xfrm>
              <a:off x="668950" y="3617925"/>
              <a:ext cx="122875" cy="104475"/>
            </a:xfrm>
            <a:custGeom>
              <a:avLst/>
              <a:gdLst/>
              <a:ahLst/>
              <a:cxnLst/>
              <a:rect l="l" t="t" r="r" b="b"/>
              <a:pathLst>
                <a:path w="4915" h="4179" extrusionOk="0">
                  <a:moveTo>
                    <a:pt x="1040" y="1"/>
                  </a:moveTo>
                  <a:cubicBezTo>
                    <a:pt x="441" y="1"/>
                    <a:pt x="0" y="473"/>
                    <a:pt x="0" y="1072"/>
                  </a:cubicBezTo>
                  <a:lnTo>
                    <a:pt x="0" y="1797"/>
                  </a:lnTo>
                  <a:cubicBezTo>
                    <a:pt x="0" y="2364"/>
                    <a:pt x="473" y="2805"/>
                    <a:pt x="1040" y="2805"/>
                  </a:cubicBezTo>
                  <a:lnTo>
                    <a:pt x="2300" y="2805"/>
                  </a:lnTo>
                  <a:lnTo>
                    <a:pt x="3592" y="4097"/>
                  </a:lnTo>
                  <a:cubicBezTo>
                    <a:pt x="3672" y="4156"/>
                    <a:pt x="3764" y="4178"/>
                    <a:pt x="3853" y="4178"/>
                  </a:cubicBezTo>
                  <a:cubicBezTo>
                    <a:pt x="3905" y="4178"/>
                    <a:pt x="3955" y="4171"/>
                    <a:pt x="4001" y="4160"/>
                  </a:cubicBezTo>
                  <a:cubicBezTo>
                    <a:pt x="4127" y="4097"/>
                    <a:pt x="4190" y="3939"/>
                    <a:pt x="4190" y="3844"/>
                  </a:cubicBezTo>
                  <a:lnTo>
                    <a:pt x="4190" y="2742"/>
                  </a:lnTo>
                  <a:cubicBezTo>
                    <a:pt x="4600" y="2584"/>
                    <a:pt x="4915" y="2206"/>
                    <a:pt x="4915" y="1734"/>
                  </a:cubicBezTo>
                  <a:lnTo>
                    <a:pt x="4915" y="1072"/>
                  </a:lnTo>
                  <a:cubicBezTo>
                    <a:pt x="4915" y="473"/>
                    <a:pt x="4411" y="1"/>
                    <a:pt x="387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256;p90">
              <a:extLst>
                <a:ext uri="{FF2B5EF4-FFF2-40B4-BE49-F238E27FC236}">
                  <a16:creationId xmlns:a16="http://schemas.microsoft.com/office/drawing/2014/main" id="{94AB3EA7-4AD1-3F29-4EF6-6C3442158F1A}"/>
                </a:ext>
              </a:extLst>
            </p:cNvPr>
            <p:cNvSpPr/>
            <p:nvPr/>
          </p:nvSpPr>
          <p:spPr>
            <a:xfrm>
              <a:off x="580725" y="3721900"/>
              <a:ext cx="141800" cy="192025"/>
            </a:xfrm>
            <a:custGeom>
              <a:avLst/>
              <a:gdLst/>
              <a:ahLst/>
              <a:cxnLst/>
              <a:rect l="l" t="t" r="r" b="b"/>
              <a:pathLst>
                <a:path w="5672" h="7681" extrusionOk="0">
                  <a:moveTo>
                    <a:pt x="3340" y="4506"/>
                  </a:moveTo>
                  <a:lnTo>
                    <a:pt x="3718" y="5577"/>
                  </a:lnTo>
                  <a:lnTo>
                    <a:pt x="1229" y="5577"/>
                  </a:lnTo>
                  <a:lnTo>
                    <a:pt x="1450" y="4600"/>
                  </a:lnTo>
                  <a:lnTo>
                    <a:pt x="1450" y="4506"/>
                  </a:lnTo>
                  <a:close/>
                  <a:moveTo>
                    <a:pt x="1450" y="1"/>
                  </a:moveTo>
                  <a:cubicBezTo>
                    <a:pt x="1135" y="1"/>
                    <a:pt x="883" y="221"/>
                    <a:pt x="788" y="505"/>
                  </a:cubicBezTo>
                  <a:lnTo>
                    <a:pt x="95" y="3624"/>
                  </a:lnTo>
                  <a:cubicBezTo>
                    <a:pt x="1" y="4096"/>
                    <a:pt x="316" y="4506"/>
                    <a:pt x="757" y="4506"/>
                  </a:cubicBezTo>
                  <a:lnTo>
                    <a:pt x="95" y="7247"/>
                  </a:lnTo>
                  <a:cubicBezTo>
                    <a:pt x="32" y="7436"/>
                    <a:pt x="158" y="7593"/>
                    <a:pt x="316" y="7656"/>
                  </a:cubicBezTo>
                  <a:cubicBezTo>
                    <a:pt x="350" y="7668"/>
                    <a:pt x="383" y="7673"/>
                    <a:pt x="415" y="7673"/>
                  </a:cubicBezTo>
                  <a:cubicBezTo>
                    <a:pt x="559" y="7673"/>
                    <a:pt x="679" y="7565"/>
                    <a:pt x="757" y="7436"/>
                  </a:cubicBezTo>
                  <a:lnTo>
                    <a:pt x="1040" y="6301"/>
                  </a:lnTo>
                  <a:lnTo>
                    <a:pt x="3939" y="6301"/>
                  </a:lnTo>
                  <a:lnTo>
                    <a:pt x="4254" y="7152"/>
                  </a:lnTo>
                  <a:cubicBezTo>
                    <a:pt x="4358" y="7492"/>
                    <a:pt x="4637" y="7680"/>
                    <a:pt x="4908" y="7680"/>
                  </a:cubicBezTo>
                  <a:cubicBezTo>
                    <a:pt x="4964" y="7680"/>
                    <a:pt x="5019" y="7672"/>
                    <a:pt x="5073" y="7656"/>
                  </a:cubicBezTo>
                  <a:cubicBezTo>
                    <a:pt x="5451" y="7593"/>
                    <a:pt x="5672" y="7184"/>
                    <a:pt x="5609" y="6837"/>
                  </a:cubicBezTo>
                  <a:lnTo>
                    <a:pt x="4569" y="3687"/>
                  </a:lnTo>
                  <a:cubicBezTo>
                    <a:pt x="4506" y="3372"/>
                    <a:pt x="4222" y="3183"/>
                    <a:pt x="3907" y="3183"/>
                  </a:cubicBezTo>
                  <a:lnTo>
                    <a:pt x="3183" y="3183"/>
                  </a:lnTo>
                  <a:cubicBezTo>
                    <a:pt x="2994" y="3183"/>
                    <a:pt x="2836" y="3025"/>
                    <a:pt x="2836" y="2836"/>
                  </a:cubicBezTo>
                  <a:cubicBezTo>
                    <a:pt x="2836" y="2615"/>
                    <a:pt x="2994" y="2458"/>
                    <a:pt x="3183" y="2458"/>
                  </a:cubicBezTo>
                  <a:lnTo>
                    <a:pt x="4222" y="2458"/>
                  </a:lnTo>
                  <a:cubicBezTo>
                    <a:pt x="4600" y="2458"/>
                    <a:pt x="4915" y="2143"/>
                    <a:pt x="4915" y="1765"/>
                  </a:cubicBezTo>
                  <a:cubicBezTo>
                    <a:pt x="4915" y="1355"/>
                    <a:pt x="4600" y="1040"/>
                    <a:pt x="4222" y="1040"/>
                  </a:cubicBezTo>
                  <a:lnTo>
                    <a:pt x="2332" y="1040"/>
                  </a:lnTo>
                  <a:lnTo>
                    <a:pt x="2080" y="379"/>
                  </a:lnTo>
                  <a:cubicBezTo>
                    <a:pt x="1985" y="158"/>
                    <a:pt x="1733" y="1"/>
                    <a:pt x="145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257;p90">
              <a:extLst>
                <a:ext uri="{FF2B5EF4-FFF2-40B4-BE49-F238E27FC236}">
                  <a16:creationId xmlns:a16="http://schemas.microsoft.com/office/drawing/2014/main" id="{6A174D90-857A-FF45-8B7A-9CA92E1F29D7}"/>
                </a:ext>
              </a:extLst>
            </p:cNvPr>
            <p:cNvSpPr/>
            <p:nvPr/>
          </p:nvSpPr>
          <p:spPr>
            <a:xfrm>
              <a:off x="800475" y="3662050"/>
              <a:ext cx="51225" cy="51200"/>
            </a:xfrm>
            <a:custGeom>
              <a:avLst/>
              <a:gdLst/>
              <a:ahLst/>
              <a:cxnLst/>
              <a:rect l="l" t="t" r="r" b="b"/>
              <a:pathLst>
                <a:path w="2049" h="2048" extrusionOk="0">
                  <a:moveTo>
                    <a:pt x="1009" y="0"/>
                  </a:moveTo>
                  <a:cubicBezTo>
                    <a:pt x="442" y="0"/>
                    <a:pt x="1" y="473"/>
                    <a:pt x="1" y="1040"/>
                  </a:cubicBezTo>
                  <a:cubicBezTo>
                    <a:pt x="1" y="1607"/>
                    <a:pt x="442" y="2048"/>
                    <a:pt x="1009" y="2048"/>
                  </a:cubicBezTo>
                  <a:cubicBezTo>
                    <a:pt x="1576" y="2048"/>
                    <a:pt x="2048" y="1607"/>
                    <a:pt x="2048" y="1040"/>
                  </a:cubicBezTo>
                  <a:cubicBezTo>
                    <a:pt x="2048" y="473"/>
                    <a:pt x="1576" y="0"/>
                    <a:pt x="100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258;p90">
              <a:extLst>
                <a:ext uri="{FF2B5EF4-FFF2-40B4-BE49-F238E27FC236}">
                  <a16:creationId xmlns:a16="http://schemas.microsoft.com/office/drawing/2014/main" id="{D352A533-6A6B-5E63-BC50-44B0B1CE9C5B}"/>
                </a:ext>
              </a:extLst>
            </p:cNvPr>
            <p:cNvSpPr/>
            <p:nvPr/>
          </p:nvSpPr>
          <p:spPr>
            <a:xfrm>
              <a:off x="738250" y="3722700"/>
              <a:ext cx="141800" cy="192600"/>
            </a:xfrm>
            <a:custGeom>
              <a:avLst/>
              <a:gdLst/>
              <a:ahLst/>
              <a:cxnLst/>
              <a:rect l="l" t="t" r="r" b="b"/>
              <a:pathLst>
                <a:path w="5672" h="7704" extrusionOk="0">
                  <a:moveTo>
                    <a:pt x="4222" y="4474"/>
                  </a:moveTo>
                  <a:lnTo>
                    <a:pt x="4222" y="4568"/>
                  </a:lnTo>
                  <a:lnTo>
                    <a:pt x="4443" y="5545"/>
                  </a:lnTo>
                  <a:lnTo>
                    <a:pt x="1985" y="5545"/>
                  </a:lnTo>
                  <a:lnTo>
                    <a:pt x="2332" y="4474"/>
                  </a:lnTo>
                  <a:close/>
                  <a:moveTo>
                    <a:pt x="4222" y="0"/>
                  </a:moveTo>
                  <a:cubicBezTo>
                    <a:pt x="3939" y="0"/>
                    <a:pt x="3718" y="158"/>
                    <a:pt x="3592" y="378"/>
                  </a:cubicBezTo>
                  <a:lnTo>
                    <a:pt x="3340" y="1071"/>
                  </a:lnTo>
                  <a:lnTo>
                    <a:pt x="1450" y="1071"/>
                  </a:lnTo>
                  <a:cubicBezTo>
                    <a:pt x="1072" y="1071"/>
                    <a:pt x="757" y="1386"/>
                    <a:pt x="757" y="1764"/>
                  </a:cubicBezTo>
                  <a:cubicBezTo>
                    <a:pt x="757" y="2174"/>
                    <a:pt x="1072" y="2489"/>
                    <a:pt x="1450" y="2489"/>
                  </a:cubicBezTo>
                  <a:lnTo>
                    <a:pt x="2490" y="2489"/>
                  </a:lnTo>
                  <a:cubicBezTo>
                    <a:pt x="2679" y="2489"/>
                    <a:pt x="2836" y="2646"/>
                    <a:pt x="2836" y="2835"/>
                  </a:cubicBezTo>
                  <a:cubicBezTo>
                    <a:pt x="2836" y="3024"/>
                    <a:pt x="2679" y="3182"/>
                    <a:pt x="2490" y="3182"/>
                  </a:cubicBezTo>
                  <a:lnTo>
                    <a:pt x="1765" y="3182"/>
                  </a:lnTo>
                  <a:cubicBezTo>
                    <a:pt x="1450" y="3182"/>
                    <a:pt x="1198" y="3371"/>
                    <a:pt x="1103" y="3686"/>
                  </a:cubicBezTo>
                  <a:lnTo>
                    <a:pt x="95" y="6837"/>
                  </a:lnTo>
                  <a:cubicBezTo>
                    <a:pt x="1" y="7215"/>
                    <a:pt x="190" y="7593"/>
                    <a:pt x="599" y="7687"/>
                  </a:cubicBezTo>
                  <a:cubicBezTo>
                    <a:pt x="643" y="7696"/>
                    <a:pt x="690" y="7701"/>
                    <a:pt x="738" y="7701"/>
                  </a:cubicBezTo>
                  <a:cubicBezTo>
                    <a:pt x="1030" y="7701"/>
                    <a:pt x="1364" y="7531"/>
                    <a:pt x="1418" y="7152"/>
                  </a:cubicBezTo>
                  <a:lnTo>
                    <a:pt x="1733" y="6301"/>
                  </a:lnTo>
                  <a:lnTo>
                    <a:pt x="4632" y="6301"/>
                  </a:lnTo>
                  <a:lnTo>
                    <a:pt x="4915" y="7435"/>
                  </a:lnTo>
                  <a:cubicBezTo>
                    <a:pt x="4967" y="7591"/>
                    <a:pt x="5104" y="7704"/>
                    <a:pt x="5257" y="7704"/>
                  </a:cubicBezTo>
                  <a:cubicBezTo>
                    <a:pt x="5290" y="7704"/>
                    <a:pt x="5323" y="7698"/>
                    <a:pt x="5356" y="7687"/>
                  </a:cubicBezTo>
                  <a:cubicBezTo>
                    <a:pt x="5546" y="7624"/>
                    <a:pt x="5672" y="7435"/>
                    <a:pt x="5577" y="7246"/>
                  </a:cubicBezTo>
                  <a:lnTo>
                    <a:pt x="4915" y="4537"/>
                  </a:lnTo>
                  <a:cubicBezTo>
                    <a:pt x="5356" y="4474"/>
                    <a:pt x="5672" y="4064"/>
                    <a:pt x="5609" y="3623"/>
                  </a:cubicBezTo>
                  <a:lnTo>
                    <a:pt x="4884" y="504"/>
                  </a:lnTo>
                  <a:cubicBezTo>
                    <a:pt x="4821" y="189"/>
                    <a:pt x="4537" y="0"/>
                    <a:pt x="422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 name="Google Shape;6159;p90">
            <a:extLst>
              <a:ext uri="{FF2B5EF4-FFF2-40B4-BE49-F238E27FC236}">
                <a16:creationId xmlns:a16="http://schemas.microsoft.com/office/drawing/2014/main" id="{69F56E7B-7754-570A-A320-B3AFDC995759}"/>
              </a:ext>
            </a:extLst>
          </p:cNvPr>
          <p:cNvSpPr/>
          <p:nvPr/>
        </p:nvSpPr>
        <p:spPr>
          <a:xfrm>
            <a:off x="4991342" y="3324811"/>
            <a:ext cx="543524" cy="482418"/>
          </a:xfrm>
          <a:custGeom>
            <a:avLst/>
            <a:gdLst/>
            <a:ahLst/>
            <a:cxnLst/>
            <a:rect l="l" t="t" r="r" b="b"/>
            <a:pathLst>
              <a:path w="12760" h="12619" extrusionOk="0">
                <a:moveTo>
                  <a:pt x="10082" y="2190"/>
                </a:moveTo>
                <a:lnTo>
                  <a:pt x="11027" y="2726"/>
                </a:lnTo>
                <a:lnTo>
                  <a:pt x="8948" y="6317"/>
                </a:lnTo>
                <a:lnTo>
                  <a:pt x="8003" y="5781"/>
                </a:lnTo>
                <a:cubicBezTo>
                  <a:pt x="8349" y="5151"/>
                  <a:pt x="9704" y="2820"/>
                  <a:pt x="10082" y="2190"/>
                </a:cubicBezTo>
                <a:close/>
                <a:moveTo>
                  <a:pt x="7813" y="6601"/>
                </a:moveTo>
                <a:lnTo>
                  <a:pt x="8318" y="6916"/>
                </a:lnTo>
                <a:lnTo>
                  <a:pt x="7782" y="7262"/>
                </a:lnTo>
                <a:lnTo>
                  <a:pt x="7813" y="6601"/>
                </a:lnTo>
                <a:close/>
                <a:moveTo>
                  <a:pt x="10554" y="8522"/>
                </a:moveTo>
                <a:cubicBezTo>
                  <a:pt x="10806" y="8522"/>
                  <a:pt x="10964" y="8711"/>
                  <a:pt x="10964" y="8900"/>
                </a:cubicBezTo>
                <a:cubicBezTo>
                  <a:pt x="10964" y="9153"/>
                  <a:pt x="10806" y="9342"/>
                  <a:pt x="10554" y="9342"/>
                </a:cubicBezTo>
                <a:lnTo>
                  <a:pt x="5608" y="9342"/>
                </a:lnTo>
                <a:cubicBezTo>
                  <a:pt x="5356" y="9342"/>
                  <a:pt x="5167" y="9153"/>
                  <a:pt x="5167" y="8900"/>
                </a:cubicBezTo>
                <a:cubicBezTo>
                  <a:pt x="5167" y="8680"/>
                  <a:pt x="5356" y="8522"/>
                  <a:pt x="5608" y="8522"/>
                </a:cubicBezTo>
                <a:close/>
                <a:moveTo>
                  <a:pt x="3088" y="5592"/>
                </a:moveTo>
                <a:cubicBezTo>
                  <a:pt x="3308" y="5592"/>
                  <a:pt x="3497" y="5813"/>
                  <a:pt x="3497" y="6002"/>
                </a:cubicBezTo>
                <a:lnTo>
                  <a:pt x="3497" y="6286"/>
                </a:lnTo>
                <a:cubicBezTo>
                  <a:pt x="3970" y="6443"/>
                  <a:pt x="4348" y="6916"/>
                  <a:pt x="4348" y="7451"/>
                </a:cubicBezTo>
                <a:cubicBezTo>
                  <a:pt x="4348" y="7703"/>
                  <a:pt x="4159" y="7861"/>
                  <a:pt x="3907" y="7861"/>
                </a:cubicBezTo>
                <a:cubicBezTo>
                  <a:pt x="3655" y="7861"/>
                  <a:pt x="3497" y="7640"/>
                  <a:pt x="3497" y="7451"/>
                </a:cubicBezTo>
                <a:cubicBezTo>
                  <a:pt x="3497" y="7231"/>
                  <a:pt x="3308" y="7010"/>
                  <a:pt x="3088" y="7010"/>
                </a:cubicBezTo>
                <a:cubicBezTo>
                  <a:pt x="2836" y="7010"/>
                  <a:pt x="2678" y="7231"/>
                  <a:pt x="2678" y="7451"/>
                </a:cubicBezTo>
                <a:cubicBezTo>
                  <a:pt x="2678" y="7703"/>
                  <a:pt x="3025" y="7924"/>
                  <a:pt x="3340" y="8176"/>
                </a:cubicBezTo>
                <a:cubicBezTo>
                  <a:pt x="3781" y="8491"/>
                  <a:pt x="4348" y="8869"/>
                  <a:pt x="4348" y="9531"/>
                </a:cubicBezTo>
                <a:cubicBezTo>
                  <a:pt x="4348" y="10098"/>
                  <a:pt x="3970" y="10539"/>
                  <a:pt x="3497" y="10728"/>
                </a:cubicBezTo>
                <a:lnTo>
                  <a:pt x="3497" y="11011"/>
                </a:lnTo>
                <a:cubicBezTo>
                  <a:pt x="3497" y="11232"/>
                  <a:pt x="3308" y="11452"/>
                  <a:pt x="3088" y="11452"/>
                </a:cubicBezTo>
                <a:cubicBezTo>
                  <a:pt x="2836" y="11452"/>
                  <a:pt x="2678" y="11232"/>
                  <a:pt x="2678" y="11011"/>
                </a:cubicBezTo>
                <a:lnTo>
                  <a:pt x="2678" y="10728"/>
                </a:lnTo>
                <a:cubicBezTo>
                  <a:pt x="2206" y="10570"/>
                  <a:pt x="1859" y="10098"/>
                  <a:pt x="1859" y="9531"/>
                </a:cubicBezTo>
                <a:cubicBezTo>
                  <a:pt x="1859" y="9310"/>
                  <a:pt x="2048" y="9121"/>
                  <a:pt x="2300" y="9121"/>
                </a:cubicBezTo>
                <a:cubicBezTo>
                  <a:pt x="2521" y="9121"/>
                  <a:pt x="2678" y="9310"/>
                  <a:pt x="2678" y="9531"/>
                </a:cubicBezTo>
                <a:cubicBezTo>
                  <a:pt x="2678" y="9783"/>
                  <a:pt x="2867" y="9940"/>
                  <a:pt x="3088" y="9940"/>
                </a:cubicBezTo>
                <a:cubicBezTo>
                  <a:pt x="3308" y="9940"/>
                  <a:pt x="3497" y="9751"/>
                  <a:pt x="3497" y="9531"/>
                </a:cubicBezTo>
                <a:cubicBezTo>
                  <a:pt x="3497" y="9310"/>
                  <a:pt x="3182" y="9089"/>
                  <a:pt x="2836" y="8837"/>
                </a:cubicBezTo>
                <a:cubicBezTo>
                  <a:pt x="2395" y="8522"/>
                  <a:pt x="1859" y="8113"/>
                  <a:pt x="1859" y="7451"/>
                </a:cubicBezTo>
                <a:cubicBezTo>
                  <a:pt x="1859" y="6916"/>
                  <a:pt x="2206" y="6475"/>
                  <a:pt x="2678" y="6286"/>
                </a:cubicBezTo>
                <a:lnTo>
                  <a:pt x="2678" y="6002"/>
                </a:lnTo>
                <a:cubicBezTo>
                  <a:pt x="2678" y="5750"/>
                  <a:pt x="2867" y="5592"/>
                  <a:pt x="3088" y="5592"/>
                </a:cubicBezTo>
                <a:close/>
                <a:moveTo>
                  <a:pt x="10554" y="11011"/>
                </a:moveTo>
                <a:cubicBezTo>
                  <a:pt x="10806" y="11011"/>
                  <a:pt x="10964" y="11200"/>
                  <a:pt x="10964" y="11452"/>
                </a:cubicBezTo>
                <a:cubicBezTo>
                  <a:pt x="10964" y="11641"/>
                  <a:pt x="10806" y="11830"/>
                  <a:pt x="10554" y="11830"/>
                </a:cubicBezTo>
                <a:lnTo>
                  <a:pt x="5608" y="11830"/>
                </a:lnTo>
                <a:cubicBezTo>
                  <a:pt x="5356" y="11830"/>
                  <a:pt x="5167" y="11641"/>
                  <a:pt x="5167" y="11452"/>
                </a:cubicBezTo>
                <a:cubicBezTo>
                  <a:pt x="5167" y="11200"/>
                  <a:pt x="5356" y="11011"/>
                  <a:pt x="5608" y="11011"/>
                </a:cubicBezTo>
                <a:close/>
                <a:moveTo>
                  <a:pt x="10933" y="1"/>
                </a:moveTo>
                <a:cubicBezTo>
                  <a:pt x="10599" y="1"/>
                  <a:pt x="10280" y="176"/>
                  <a:pt x="10113" y="489"/>
                </a:cubicBezTo>
                <a:lnTo>
                  <a:pt x="7877" y="4395"/>
                </a:lnTo>
                <a:lnTo>
                  <a:pt x="1229" y="4395"/>
                </a:lnTo>
                <a:cubicBezTo>
                  <a:pt x="567" y="4395"/>
                  <a:pt x="0" y="4931"/>
                  <a:pt x="0" y="5592"/>
                </a:cubicBezTo>
                <a:lnTo>
                  <a:pt x="0" y="11389"/>
                </a:lnTo>
                <a:cubicBezTo>
                  <a:pt x="0" y="12051"/>
                  <a:pt x="567" y="12618"/>
                  <a:pt x="1229" y="12618"/>
                </a:cubicBezTo>
                <a:lnTo>
                  <a:pt x="11437" y="12618"/>
                </a:lnTo>
                <a:cubicBezTo>
                  <a:pt x="12098" y="12618"/>
                  <a:pt x="12697" y="12082"/>
                  <a:pt x="12697" y="11389"/>
                </a:cubicBezTo>
                <a:lnTo>
                  <a:pt x="12697" y="5592"/>
                </a:lnTo>
                <a:cubicBezTo>
                  <a:pt x="12602" y="4931"/>
                  <a:pt x="12067" y="4395"/>
                  <a:pt x="11374" y="4395"/>
                </a:cubicBezTo>
                <a:lnTo>
                  <a:pt x="11027" y="4395"/>
                </a:lnTo>
                <a:lnTo>
                  <a:pt x="12476" y="1875"/>
                </a:lnTo>
                <a:cubicBezTo>
                  <a:pt x="12760" y="1402"/>
                  <a:pt x="12602" y="804"/>
                  <a:pt x="12130" y="583"/>
                </a:cubicBezTo>
                <a:lnTo>
                  <a:pt x="11437" y="142"/>
                </a:lnTo>
                <a:cubicBezTo>
                  <a:pt x="11277" y="46"/>
                  <a:pt x="11103" y="1"/>
                  <a:pt x="10933" y="1"/>
                </a:cubicBezTo>
                <a:close/>
              </a:path>
            </a:pathLst>
          </a:custGeom>
          <a:gradFill flip="none" rotWithShape="1">
            <a:gsLst>
              <a:gs pos="0">
                <a:srgbClr val="5F7D95">
                  <a:tint val="66000"/>
                  <a:satMod val="160000"/>
                </a:srgbClr>
              </a:gs>
              <a:gs pos="50000">
                <a:srgbClr val="5F7D95">
                  <a:tint val="44500"/>
                  <a:satMod val="160000"/>
                </a:srgbClr>
              </a:gs>
              <a:gs pos="100000">
                <a:srgbClr val="5F7D95">
                  <a:tint val="23500"/>
                  <a:satMod val="160000"/>
                </a:srgbClr>
              </a:gs>
            </a:gsLst>
            <a:lin ang="2700000" scaled="1"/>
            <a:tileRect/>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 name="Google Shape;6458;p90">
            <a:extLst>
              <a:ext uri="{FF2B5EF4-FFF2-40B4-BE49-F238E27FC236}">
                <a16:creationId xmlns:a16="http://schemas.microsoft.com/office/drawing/2014/main" id="{8CCC2A27-892E-60EF-F1FF-981E340D21CB}"/>
              </a:ext>
            </a:extLst>
          </p:cNvPr>
          <p:cNvGrpSpPr/>
          <p:nvPr/>
        </p:nvGrpSpPr>
        <p:grpSpPr>
          <a:xfrm>
            <a:off x="4982734" y="4037126"/>
            <a:ext cx="543524" cy="523220"/>
            <a:chOff x="5364750" y="3235150"/>
            <a:chExt cx="277275" cy="294950"/>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p:grpSpPr>
        <p:sp>
          <p:nvSpPr>
            <p:cNvPr id="29" name="Google Shape;6459;p90">
              <a:extLst>
                <a:ext uri="{FF2B5EF4-FFF2-40B4-BE49-F238E27FC236}">
                  <a16:creationId xmlns:a16="http://schemas.microsoft.com/office/drawing/2014/main" id="{6683B6C1-DA63-7F07-3A3E-4C52849488E2}"/>
                </a:ext>
              </a:extLst>
            </p:cNvPr>
            <p:cNvSpPr/>
            <p:nvPr/>
          </p:nvSpPr>
          <p:spPr>
            <a:xfrm>
              <a:off x="5502600" y="3235150"/>
              <a:ext cx="17350" cy="44125"/>
            </a:xfrm>
            <a:custGeom>
              <a:avLst/>
              <a:gdLst/>
              <a:ahLst/>
              <a:cxnLst/>
              <a:rect l="l" t="t" r="r" b="b"/>
              <a:pathLst>
                <a:path w="694" h="1765" extrusionOk="0">
                  <a:moveTo>
                    <a:pt x="347" y="1"/>
                  </a:moveTo>
                  <a:cubicBezTo>
                    <a:pt x="158" y="1"/>
                    <a:pt x="0" y="158"/>
                    <a:pt x="0" y="347"/>
                  </a:cubicBezTo>
                  <a:lnTo>
                    <a:pt x="0" y="1418"/>
                  </a:lnTo>
                  <a:cubicBezTo>
                    <a:pt x="0" y="1607"/>
                    <a:pt x="158" y="1765"/>
                    <a:pt x="347" y="1765"/>
                  </a:cubicBezTo>
                  <a:cubicBezTo>
                    <a:pt x="536" y="1765"/>
                    <a:pt x="693" y="1607"/>
                    <a:pt x="693" y="1418"/>
                  </a:cubicBezTo>
                  <a:lnTo>
                    <a:pt x="693" y="347"/>
                  </a:lnTo>
                  <a:cubicBezTo>
                    <a:pt x="693" y="158"/>
                    <a:pt x="536" y="1"/>
                    <a:pt x="34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460;p90">
              <a:extLst>
                <a:ext uri="{FF2B5EF4-FFF2-40B4-BE49-F238E27FC236}">
                  <a16:creationId xmlns:a16="http://schemas.microsoft.com/office/drawing/2014/main" id="{C7B9F495-419D-4B4B-9560-CE13E23B4ADF}"/>
                </a:ext>
              </a:extLst>
            </p:cNvPr>
            <p:cNvSpPr/>
            <p:nvPr/>
          </p:nvSpPr>
          <p:spPr>
            <a:xfrm>
              <a:off x="5555375" y="3253850"/>
              <a:ext cx="35450" cy="34100"/>
            </a:xfrm>
            <a:custGeom>
              <a:avLst/>
              <a:gdLst/>
              <a:ahLst/>
              <a:cxnLst/>
              <a:rect l="l" t="t" r="r" b="b"/>
              <a:pathLst>
                <a:path w="1418" h="1364" extrusionOk="0">
                  <a:moveTo>
                    <a:pt x="1071" y="1"/>
                  </a:moveTo>
                  <a:cubicBezTo>
                    <a:pt x="977" y="1"/>
                    <a:pt x="882" y="24"/>
                    <a:pt x="819" y="72"/>
                  </a:cubicBezTo>
                  <a:lnTo>
                    <a:pt x="126" y="796"/>
                  </a:lnTo>
                  <a:cubicBezTo>
                    <a:pt x="0" y="922"/>
                    <a:pt x="0" y="1143"/>
                    <a:pt x="126" y="1269"/>
                  </a:cubicBezTo>
                  <a:cubicBezTo>
                    <a:pt x="189" y="1332"/>
                    <a:pt x="268" y="1363"/>
                    <a:pt x="350" y="1363"/>
                  </a:cubicBezTo>
                  <a:cubicBezTo>
                    <a:pt x="433" y="1363"/>
                    <a:pt x="520" y="1332"/>
                    <a:pt x="599" y="1269"/>
                  </a:cubicBezTo>
                  <a:lnTo>
                    <a:pt x="1323" y="544"/>
                  </a:lnTo>
                  <a:cubicBezTo>
                    <a:pt x="1418" y="418"/>
                    <a:pt x="1418" y="198"/>
                    <a:pt x="1323" y="72"/>
                  </a:cubicBezTo>
                  <a:cubicBezTo>
                    <a:pt x="1260" y="24"/>
                    <a:pt x="1166" y="1"/>
                    <a:pt x="107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461;p90">
              <a:extLst>
                <a:ext uri="{FF2B5EF4-FFF2-40B4-BE49-F238E27FC236}">
                  <a16:creationId xmlns:a16="http://schemas.microsoft.com/office/drawing/2014/main" id="{C032074C-48B0-21C0-9B88-5DAEA1539177}"/>
                </a:ext>
              </a:extLst>
            </p:cNvPr>
            <p:cNvSpPr/>
            <p:nvPr/>
          </p:nvSpPr>
          <p:spPr>
            <a:xfrm>
              <a:off x="5606550" y="3357225"/>
              <a:ext cx="35475" cy="18150"/>
            </a:xfrm>
            <a:custGeom>
              <a:avLst/>
              <a:gdLst/>
              <a:ahLst/>
              <a:cxnLst/>
              <a:rect l="l" t="t" r="r" b="b"/>
              <a:pathLst>
                <a:path w="1419" h="726" extrusionOk="0">
                  <a:moveTo>
                    <a:pt x="379" y="1"/>
                  </a:moveTo>
                  <a:cubicBezTo>
                    <a:pt x="158" y="1"/>
                    <a:pt x="1" y="158"/>
                    <a:pt x="1" y="347"/>
                  </a:cubicBezTo>
                  <a:cubicBezTo>
                    <a:pt x="1" y="568"/>
                    <a:pt x="158" y="725"/>
                    <a:pt x="379" y="725"/>
                  </a:cubicBezTo>
                  <a:lnTo>
                    <a:pt x="1072" y="725"/>
                  </a:lnTo>
                  <a:cubicBezTo>
                    <a:pt x="1261" y="725"/>
                    <a:pt x="1419" y="568"/>
                    <a:pt x="1419" y="347"/>
                  </a:cubicBezTo>
                  <a:cubicBezTo>
                    <a:pt x="1419" y="158"/>
                    <a:pt x="1261" y="1"/>
                    <a:pt x="107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462;p90">
              <a:extLst>
                <a:ext uri="{FF2B5EF4-FFF2-40B4-BE49-F238E27FC236}">
                  <a16:creationId xmlns:a16="http://schemas.microsoft.com/office/drawing/2014/main" id="{B778C602-F8E6-BB59-313D-F65BD014C799}"/>
                </a:ext>
              </a:extLst>
            </p:cNvPr>
            <p:cNvSpPr/>
            <p:nvPr/>
          </p:nvSpPr>
          <p:spPr>
            <a:xfrm>
              <a:off x="5364750" y="3357225"/>
              <a:ext cx="35475" cy="17350"/>
            </a:xfrm>
            <a:custGeom>
              <a:avLst/>
              <a:gdLst/>
              <a:ahLst/>
              <a:cxnLst/>
              <a:rect l="l" t="t" r="r" b="b"/>
              <a:pathLst>
                <a:path w="1419" h="694" extrusionOk="0">
                  <a:moveTo>
                    <a:pt x="347" y="1"/>
                  </a:moveTo>
                  <a:cubicBezTo>
                    <a:pt x="158" y="1"/>
                    <a:pt x="1" y="158"/>
                    <a:pt x="1" y="347"/>
                  </a:cubicBezTo>
                  <a:cubicBezTo>
                    <a:pt x="1" y="568"/>
                    <a:pt x="158" y="694"/>
                    <a:pt x="347" y="694"/>
                  </a:cubicBezTo>
                  <a:lnTo>
                    <a:pt x="1072" y="694"/>
                  </a:lnTo>
                  <a:cubicBezTo>
                    <a:pt x="1261" y="694"/>
                    <a:pt x="1419" y="568"/>
                    <a:pt x="1419" y="347"/>
                  </a:cubicBezTo>
                  <a:cubicBezTo>
                    <a:pt x="1419" y="158"/>
                    <a:pt x="1261" y="1"/>
                    <a:pt x="107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463;p90">
              <a:extLst>
                <a:ext uri="{FF2B5EF4-FFF2-40B4-BE49-F238E27FC236}">
                  <a16:creationId xmlns:a16="http://schemas.microsoft.com/office/drawing/2014/main" id="{CAF8F33C-89E8-3567-8F51-AE66CC94C221}"/>
                </a:ext>
              </a:extLst>
            </p:cNvPr>
            <p:cNvSpPr/>
            <p:nvPr/>
          </p:nvSpPr>
          <p:spPr>
            <a:xfrm>
              <a:off x="5433275" y="3253850"/>
              <a:ext cx="35475" cy="34100"/>
            </a:xfrm>
            <a:custGeom>
              <a:avLst/>
              <a:gdLst/>
              <a:ahLst/>
              <a:cxnLst/>
              <a:rect l="l" t="t" r="r" b="b"/>
              <a:pathLst>
                <a:path w="1419" h="1364" extrusionOk="0">
                  <a:moveTo>
                    <a:pt x="363" y="1"/>
                  </a:moveTo>
                  <a:cubicBezTo>
                    <a:pt x="276" y="1"/>
                    <a:pt x="190" y="24"/>
                    <a:pt x="127" y="72"/>
                  </a:cubicBezTo>
                  <a:cubicBezTo>
                    <a:pt x="1" y="198"/>
                    <a:pt x="1" y="450"/>
                    <a:pt x="127" y="544"/>
                  </a:cubicBezTo>
                  <a:lnTo>
                    <a:pt x="820" y="1269"/>
                  </a:lnTo>
                  <a:cubicBezTo>
                    <a:pt x="883" y="1332"/>
                    <a:pt x="977" y="1363"/>
                    <a:pt x="1072" y="1363"/>
                  </a:cubicBezTo>
                  <a:cubicBezTo>
                    <a:pt x="1166" y="1363"/>
                    <a:pt x="1261" y="1332"/>
                    <a:pt x="1324" y="1269"/>
                  </a:cubicBezTo>
                  <a:cubicBezTo>
                    <a:pt x="1418" y="1143"/>
                    <a:pt x="1418" y="922"/>
                    <a:pt x="1324" y="796"/>
                  </a:cubicBezTo>
                  <a:lnTo>
                    <a:pt x="599" y="72"/>
                  </a:lnTo>
                  <a:cubicBezTo>
                    <a:pt x="536" y="24"/>
                    <a:pt x="450" y="1"/>
                    <a:pt x="36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464;p90">
              <a:extLst>
                <a:ext uri="{FF2B5EF4-FFF2-40B4-BE49-F238E27FC236}">
                  <a16:creationId xmlns:a16="http://schemas.microsoft.com/office/drawing/2014/main" id="{478D0F63-BBB8-8FB0-965F-5F91D0E3698E}"/>
                </a:ext>
              </a:extLst>
            </p:cNvPr>
            <p:cNvSpPr/>
            <p:nvPr/>
          </p:nvSpPr>
          <p:spPr>
            <a:xfrm>
              <a:off x="5380500" y="3287775"/>
              <a:ext cx="37050" cy="25975"/>
            </a:xfrm>
            <a:custGeom>
              <a:avLst/>
              <a:gdLst/>
              <a:ahLst/>
              <a:cxnLst/>
              <a:rect l="l" t="t" r="r" b="b"/>
              <a:pathLst>
                <a:path w="1482" h="1039" extrusionOk="0">
                  <a:moveTo>
                    <a:pt x="396" y="0"/>
                  </a:moveTo>
                  <a:cubicBezTo>
                    <a:pt x="267" y="0"/>
                    <a:pt x="132" y="81"/>
                    <a:pt x="64" y="195"/>
                  </a:cubicBezTo>
                  <a:cubicBezTo>
                    <a:pt x="1" y="353"/>
                    <a:pt x="64" y="573"/>
                    <a:pt x="221" y="668"/>
                  </a:cubicBezTo>
                  <a:lnTo>
                    <a:pt x="946" y="1015"/>
                  </a:lnTo>
                  <a:cubicBezTo>
                    <a:pt x="987" y="1031"/>
                    <a:pt x="1032" y="1039"/>
                    <a:pt x="1077" y="1039"/>
                  </a:cubicBezTo>
                  <a:cubicBezTo>
                    <a:pt x="1209" y="1039"/>
                    <a:pt x="1349" y="974"/>
                    <a:pt x="1419" y="857"/>
                  </a:cubicBezTo>
                  <a:cubicBezTo>
                    <a:pt x="1482" y="699"/>
                    <a:pt x="1419" y="447"/>
                    <a:pt x="1261" y="384"/>
                  </a:cubicBezTo>
                  <a:lnTo>
                    <a:pt x="536" y="38"/>
                  </a:lnTo>
                  <a:cubicBezTo>
                    <a:pt x="493" y="12"/>
                    <a:pt x="445" y="0"/>
                    <a:pt x="3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465;p90">
              <a:extLst>
                <a:ext uri="{FF2B5EF4-FFF2-40B4-BE49-F238E27FC236}">
                  <a16:creationId xmlns:a16="http://schemas.microsoft.com/office/drawing/2014/main" id="{9F0148A5-3988-F2CE-D0AC-F8B74D693229}"/>
                </a:ext>
              </a:extLst>
            </p:cNvPr>
            <p:cNvSpPr/>
            <p:nvPr/>
          </p:nvSpPr>
          <p:spPr>
            <a:xfrm>
              <a:off x="5588450" y="3288075"/>
              <a:ext cx="37025" cy="26800"/>
            </a:xfrm>
            <a:custGeom>
              <a:avLst/>
              <a:gdLst/>
              <a:ahLst/>
              <a:cxnLst/>
              <a:rect l="l" t="t" r="r" b="b"/>
              <a:pathLst>
                <a:path w="1481" h="1072" extrusionOk="0">
                  <a:moveTo>
                    <a:pt x="1110" y="0"/>
                  </a:moveTo>
                  <a:cubicBezTo>
                    <a:pt x="1049" y="0"/>
                    <a:pt x="983" y="18"/>
                    <a:pt x="914" y="57"/>
                  </a:cubicBezTo>
                  <a:lnTo>
                    <a:pt x="221" y="404"/>
                  </a:lnTo>
                  <a:cubicBezTo>
                    <a:pt x="63" y="498"/>
                    <a:pt x="0" y="687"/>
                    <a:pt x="63" y="877"/>
                  </a:cubicBezTo>
                  <a:cubicBezTo>
                    <a:pt x="132" y="991"/>
                    <a:pt x="250" y="1072"/>
                    <a:pt x="382" y="1072"/>
                  </a:cubicBezTo>
                  <a:cubicBezTo>
                    <a:pt x="432" y="1072"/>
                    <a:pt x="484" y="1060"/>
                    <a:pt x="536" y="1034"/>
                  </a:cubicBezTo>
                  <a:lnTo>
                    <a:pt x="1260" y="687"/>
                  </a:lnTo>
                  <a:cubicBezTo>
                    <a:pt x="1418" y="593"/>
                    <a:pt x="1481" y="404"/>
                    <a:pt x="1418" y="215"/>
                  </a:cubicBezTo>
                  <a:cubicBezTo>
                    <a:pt x="1353" y="85"/>
                    <a:pt x="1244" y="0"/>
                    <a:pt x="111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466;p90">
              <a:extLst>
                <a:ext uri="{FF2B5EF4-FFF2-40B4-BE49-F238E27FC236}">
                  <a16:creationId xmlns:a16="http://schemas.microsoft.com/office/drawing/2014/main" id="{04A35405-1D83-57AD-02F4-0D916FA3D018}"/>
                </a:ext>
              </a:extLst>
            </p:cNvPr>
            <p:cNvSpPr/>
            <p:nvPr/>
          </p:nvSpPr>
          <p:spPr>
            <a:xfrm>
              <a:off x="5412025" y="3286350"/>
              <a:ext cx="177225" cy="243750"/>
            </a:xfrm>
            <a:custGeom>
              <a:avLst/>
              <a:gdLst/>
              <a:ahLst/>
              <a:cxnLst/>
              <a:rect l="l" t="t" r="r" b="b"/>
              <a:pathLst>
                <a:path w="7089" h="9750" extrusionOk="0">
                  <a:moveTo>
                    <a:pt x="3529" y="0"/>
                  </a:moveTo>
                  <a:cubicBezTo>
                    <a:pt x="3151" y="0"/>
                    <a:pt x="2836" y="315"/>
                    <a:pt x="2836" y="725"/>
                  </a:cubicBezTo>
                  <a:lnTo>
                    <a:pt x="2836" y="1418"/>
                  </a:lnTo>
                  <a:cubicBezTo>
                    <a:pt x="2836" y="1040"/>
                    <a:pt x="2520" y="725"/>
                    <a:pt x="2111" y="725"/>
                  </a:cubicBezTo>
                  <a:cubicBezTo>
                    <a:pt x="1733" y="725"/>
                    <a:pt x="1418" y="1040"/>
                    <a:pt x="1418" y="1418"/>
                  </a:cubicBezTo>
                  <a:lnTo>
                    <a:pt x="1418" y="2143"/>
                  </a:lnTo>
                  <a:cubicBezTo>
                    <a:pt x="1544" y="2143"/>
                    <a:pt x="1638" y="2080"/>
                    <a:pt x="1764" y="2080"/>
                  </a:cubicBezTo>
                  <a:lnTo>
                    <a:pt x="3497" y="2080"/>
                  </a:lnTo>
                  <a:cubicBezTo>
                    <a:pt x="4253" y="2080"/>
                    <a:pt x="4883" y="2710"/>
                    <a:pt x="4883" y="3466"/>
                  </a:cubicBezTo>
                  <a:cubicBezTo>
                    <a:pt x="4883" y="4096"/>
                    <a:pt x="4474" y="4600"/>
                    <a:pt x="3907" y="4758"/>
                  </a:cubicBezTo>
                  <a:cubicBezTo>
                    <a:pt x="4064" y="5073"/>
                    <a:pt x="4159" y="5482"/>
                    <a:pt x="4159" y="5860"/>
                  </a:cubicBezTo>
                  <a:cubicBezTo>
                    <a:pt x="4159" y="6081"/>
                    <a:pt x="4001" y="6238"/>
                    <a:pt x="3812" y="6238"/>
                  </a:cubicBezTo>
                  <a:cubicBezTo>
                    <a:pt x="3623" y="6238"/>
                    <a:pt x="3466" y="6081"/>
                    <a:pt x="3466" y="5860"/>
                  </a:cubicBezTo>
                  <a:cubicBezTo>
                    <a:pt x="3466" y="4915"/>
                    <a:pt x="2678" y="4128"/>
                    <a:pt x="1733" y="4128"/>
                  </a:cubicBezTo>
                  <a:lnTo>
                    <a:pt x="3466" y="4128"/>
                  </a:lnTo>
                  <a:cubicBezTo>
                    <a:pt x="3844" y="4128"/>
                    <a:pt x="4159" y="3812"/>
                    <a:pt x="4159" y="3434"/>
                  </a:cubicBezTo>
                  <a:cubicBezTo>
                    <a:pt x="4159" y="3025"/>
                    <a:pt x="3844" y="2710"/>
                    <a:pt x="3466" y="2710"/>
                  </a:cubicBezTo>
                  <a:lnTo>
                    <a:pt x="1733" y="2710"/>
                  </a:lnTo>
                  <a:cubicBezTo>
                    <a:pt x="788" y="2710"/>
                    <a:pt x="0" y="3497"/>
                    <a:pt x="0" y="4443"/>
                  </a:cubicBezTo>
                  <a:lnTo>
                    <a:pt x="0" y="5167"/>
                  </a:lnTo>
                  <a:cubicBezTo>
                    <a:pt x="0" y="6112"/>
                    <a:pt x="536" y="6963"/>
                    <a:pt x="1386" y="7372"/>
                  </a:cubicBezTo>
                  <a:lnTo>
                    <a:pt x="1386" y="8318"/>
                  </a:lnTo>
                  <a:cubicBezTo>
                    <a:pt x="977" y="8318"/>
                    <a:pt x="662" y="8633"/>
                    <a:pt x="662" y="9011"/>
                  </a:cubicBezTo>
                  <a:lnTo>
                    <a:pt x="662" y="9389"/>
                  </a:lnTo>
                  <a:cubicBezTo>
                    <a:pt x="662" y="9578"/>
                    <a:pt x="819" y="9735"/>
                    <a:pt x="1008" y="9735"/>
                  </a:cubicBezTo>
                  <a:lnTo>
                    <a:pt x="5860" y="9735"/>
                  </a:lnTo>
                  <a:cubicBezTo>
                    <a:pt x="5923" y="9745"/>
                    <a:pt x="5979" y="9749"/>
                    <a:pt x="6029" y="9749"/>
                  </a:cubicBezTo>
                  <a:cubicBezTo>
                    <a:pt x="6305" y="9749"/>
                    <a:pt x="6396" y="9612"/>
                    <a:pt x="6396" y="9452"/>
                  </a:cubicBezTo>
                  <a:lnTo>
                    <a:pt x="6396" y="9105"/>
                  </a:lnTo>
                  <a:cubicBezTo>
                    <a:pt x="6396" y="8696"/>
                    <a:pt x="6112" y="8381"/>
                    <a:pt x="5702" y="8381"/>
                  </a:cubicBezTo>
                  <a:lnTo>
                    <a:pt x="5702" y="7436"/>
                  </a:lnTo>
                  <a:cubicBezTo>
                    <a:pt x="6522" y="7057"/>
                    <a:pt x="7089" y="6175"/>
                    <a:pt x="7089" y="5230"/>
                  </a:cubicBezTo>
                  <a:lnTo>
                    <a:pt x="7089" y="2143"/>
                  </a:lnTo>
                  <a:cubicBezTo>
                    <a:pt x="7089" y="1733"/>
                    <a:pt x="6774" y="1418"/>
                    <a:pt x="6364" y="1418"/>
                  </a:cubicBezTo>
                  <a:cubicBezTo>
                    <a:pt x="5986" y="1418"/>
                    <a:pt x="5671" y="1733"/>
                    <a:pt x="5671" y="2143"/>
                  </a:cubicBezTo>
                  <a:lnTo>
                    <a:pt x="5671" y="1418"/>
                  </a:lnTo>
                  <a:cubicBezTo>
                    <a:pt x="5671" y="1040"/>
                    <a:pt x="5356" y="725"/>
                    <a:pt x="4946" y="725"/>
                  </a:cubicBezTo>
                  <a:cubicBezTo>
                    <a:pt x="4568" y="725"/>
                    <a:pt x="4253" y="1040"/>
                    <a:pt x="4253" y="1418"/>
                  </a:cubicBezTo>
                  <a:lnTo>
                    <a:pt x="4253" y="725"/>
                  </a:lnTo>
                  <a:cubicBezTo>
                    <a:pt x="4253" y="315"/>
                    <a:pt x="3938" y="0"/>
                    <a:pt x="352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文本框 2">
            <a:extLst>
              <a:ext uri="{FF2B5EF4-FFF2-40B4-BE49-F238E27FC236}">
                <a16:creationId xmlns:a16="http://schemas.microsoft.com/office/drawing/2014/main" id="{B68FC3CE-2DB7-2A5F-0795-2ED3FEC1D264}"/>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5</a:t>
            </a:r>
          </a:p>
        </p:txBody>
      </p:sp>
    </p:spTree>
    <p:extLst>
      <p:ext uri="{BB962C8B-B14F-4D97-AF65-F5344CB8AC3E}">
        <p14:creationId xmlns:p14="http://schemas.microsoft.com/office/powerpoint/2010/main" val="970447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2197ECC-BA74-45FB-15BE-6D3B44B3EA08}"/>
              </a:ext>
            </a:extLst>
          </p:cNvPr>
          <p:cNvSpPr txBox="1"/>
          <p:nvPr/>
        </p:nvSpPr>
        <p:spPr>
          <a:xfrm>
            <a:off x="299257" y="240734"/>
            <a:ext cx="7830590" cy="584775"/>
          </a:xfrm>
          <a:prstGeom prst="rect">
            <a:avLst/>
          </a:prstGeom>
          <a:noFill/>
        </p:spPr>
        <p:txBody>
          <a:bodyPr wrap="square" rtlCol="0">
            <a:spAutoFit/>
          </a:bodyPr>
          <a:lstStyle/>
          <a:p>
            <a:r>
              <a:rPr lang="en-US" sz="3200" b="1">
                <a:solidFill>
                  <a:schemeClr val="bg1"/>
                </a:solidFill>
                <a:latin typeface="DM Sans" pitchFamily="2" charset="77"/>
              </a:rPr>
              <a:t>Inc</a:t>
            </a:r>
            <a:r>
              <a:rPr lang="en-US" altLang="zh-CN" sz="3200" b="1">
                <a:solidFill>
                  <a:schemeClr val="bg1"/>
                </a:solidFill>
                <a:latin typeface="DM Sans" pitchFamily="2" charset="77"/>
              </a:rPr>
              <a:t>entive</a:t>
            </a:r>
            <a:r>
              <a:rPr lang="zh-CN" altLang="en-US" sz="3200" b="1">
                <a:solidFill>
                  <a:schemeClr val="bg1"/>
                </a:solidFill>
                <a:latin typeface="DM Sans" pitchFamily="2" charset="77"/>
              </a:rPr>
              <a:t> </a:t>
            </a:r>
            <a:r>
              <a:rPr lang="en-US" altLang="zh-CN" sz="3200" b="1">
                <a:solidFill>
                  <a:schemeClr val="bg1"/>
                </a:solidFill>
                <a:latin typeface="DM Sans" pitchFamily="2" charset="77"/>
              </a:rPr>
              <a:t>Paired</a:t>
            </a:r>
            <a:r>
              <a:rPr lang="zh-CN" altLang="en-US" sz="3200" b="1">
                <a:solidFill>
                  <a:schemeClr val="bg1"/>
                </a:solidFill>
                <a:latin typeface="DM Sans" pitchFamily="2" charset="77"/>
              </a:rPr>
              <a:t> </a:t>
            </a:r>
            <a:r>
              <a:rPr lang="en-US" altLang="zh-CN" sz="3200" b="1">
                <a:solidFill>
                  <a:schemeClr val="bg1"/>
                </a:solidFill>
                <a:latin typeface="DM Sans" pitchFamily="2" charset="77"/>
              </a:rPr>
              <a:t>with</a:t>
            </a:r>
            <a:r>
              <a:rPr lang="zh-CN" altLang="en-US" sz="3200" b="1">
                <a:solidFill>
                  <a:schemeClr val="bg1"/>
                </a:solidFill>
                <a:latin typeface="DM Sans" pitchFamily="2" charset="77"/>
              </a:rPr>
              <a:t> </a:t>
            </a:r>
            <a:r>
              <a:rPr lang="en-US" altLang="zh-CN" sz="3200" b="1">
                <a:solidFill>
                  <a:schemeClr val="bg1"/>
                </a:solidFill>
                <a:latin typeface="DM Sans" pitchFamily="2" charset="77"/>
              </a:rPr>
              <a:t>Segmentations</a:t>
            </a:r>
            <a:endParaRPr lang="en-US" sz="3200" b="1">
              <a:solidFill>
                <a:schemeClr val="bg1"/>
              </a:solidFill>
              <a:latin typeface="DM Sans" pitchFamily="2" charset="77"/>
            </a:endParaRPr>
          </a:p>
        </p:txBody>
      </p:sp>
      <p:pic>
        <p:nvPicPr>
          <p:cNvPr id="6" name="Picture 5">
            <a:extLst>
              <a:ext uri="{FF2B5EF4-FFF2-40B4-BE49-F238E27FC236}">
                <a16:creationId xmlns:a16="http://schemas.microsoft.com/office/drawing/2014/main" id="{97BAB131-D321-9CB3-075C-44FEDBAAD417}"/>
              </a:ext>
            </a:extLst>
          </p:cNvPr>
          <p:cNvPicPr>
            <a:picLocks noChangeAspect="1"/>
          </p:cNvPicPr>
          <p:nvPr/>
        </p:nvPicPr>
        <p:blipFill>
          <a:blip r:embed="rId3"/>
          <a:stretch>
            <a:fillRect/>
          </a:stretch>
        </p:blipFill>
        <p:spPr>
          <a:xfrm>
            <a:off x="423026" y="1226128"/>
            <a:ext cx="3491345" cy="3223260"/>
          </a:xfrm>
          <a:prstGeom prst="rect">
            <a:avLst/>
          </a:prstGeom>
        </p:spPr>
      </p:pic>
      <p:sp>
        <p:nvSpPr>
          <p:cNvPr id="8" name="Oval 7">
            <a:extLst>
              <a:ext uri="{FF2B5EF4-FFF2-40B4-BE49-F238E27FC236}">
                <a16:creationId xmlns:a16="http://schemas.microsoft.com/office/drawing/2014/main" id="{9E08EE0C-9347-2A6F-5538-0CC86033C269}"/>
              </a:ext>
            </a:extLst>
          </p:cNvPr>
          <p:cNvSpPr/>
          <p:nvPr/>
        </p:nvSpPr>
        <p:spPr>
          <a:xfrm>
            <a:off x="1147154" y="1953491"/>
            <a:ext cx="2344189" cy="2069869"/>
          </a:xfrm>
          <a:prstGeom prst="ellipse">
            <a:avLst/>
          </a:prstGeom>
          <a:noFill/>
          <a:ln w="28575" cap="flat" cmpd="sng" algn="ctr">
            <a:solidFill>
              <a:srgbClr val="FFC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sp>
        <p:nvSpPr>
          <p:cNvPr id="9" name="TextBox 8">
            <a:extLst>
              <a:ext uri="{FF2B5EF4-FFF2-40B4-BE49-F238E27FC236}">
                <a16:creationId xmlns:a16="http://schemas.microsoft.com/office/drawing/2014/main" id="{9228C873-4358-71D9-7804-B597CC8C2B8C}"/>
              </a:ext>
            </a:extLst>
          </p:cNvPr>
          <p:cNvSpPr txBox="1"/>
          <p:nvPr/>
        </p:nvSpPr>
        <p:spPr>
          <a:xfrm>
            <a:off x="5229631" y="2202619"/>
            <a:ext cx="3616036" cy="2185214"/>
          </a:xfrm>
          <a:prstGeom prst="rect">
            <a:avLst/>
          </a:prstGeom>
          <a:solidFill>
            <a:schemeClr val="accent2"/>
          </a:solidFill>
        </p:spPr>
        <p:txBody>
          <a:bodyPr wrap="square" lIns="91440" tIns="45720" rIns="91440" bIns="45720" rtlCol="0" anchor="t">
            <a:spAutoFit/>
          </a:bodyPr>
          <a:lstStyle/>
          <a:p>
            <a:r>
              <a:rPr lang="en-US" altLang="zh-CN">
                <a:solidFill>
                  <a:schemeClr val="bg1"/>
                </a:solidFill>
                <a:latin typeface="DM Sans"/>
              </a:rPr>
              <a:t>Strategy</a:t>
            </a:r>
            <a:r>
              <a:rPr lang="zh-CN" altLang="en-US">
                <a:solidFill>
                  <a:schemeClr val="bg1"/>
                </a:solidFill>
                <a:latin typeface="DM Sans"/>
              </a:rPr>
              <a:t> </a:t>
            </a:r>
            <a:r>
              <a:rPr lang="en-US" altLang="zh-CN">
                <a:solidFill>
                  <a:schemeClr val="bg1"/>
                </a:solidFill>
                <a:latin typeface="DM Sans"/>
              </a:rPr>
              <a:t>for</a:t>
            </a:r>
            <a:r>
              <a:rPr lang="zh-CN" altLang="en-US">
                <a:solidFill>
                  <a:schemeClr val="bg1"/>
                </a:solidFill>
                <a:latin typeface="DM Sans"/>
              </a:rPr>
              <a:t> </a:t>
            </a:r>
            <a:r>
              <a:rPr lang="en-US" altLang="zh-CN">
                <a:solidFill>
                  <a:schemeClr val="bg1"/>
                </a:solidFill>
                <a:latin typeface="DM Sans"/>
              </a:rPr>
              <a:t>Loyal</a:t>
            </a:r>
            <a:r>
              <a:rPr lang="zh-CN" altLang="en-US">
                <a:solidFill>
                  <a:schemeClr val="bg1"/>
                </a:solidFill>
                <a:latin typeface="DM Sans"/>
              </a:rPr>
              <a:t> </a:t>
            </a:r>
            <a:r>
              <a:rPr lang="en-US" altLang="zh-CN">
                <a:solidFill>
                  <a:schemeClr val="bg1"/>
                </a:solidFill>
                <a:latin typeface="DM Sans"/>
              </a:rPr>
              <a:t>&amp;</a:t>
            </a:r>
            <a:r>
              <a:rPr lang="zh-CN" altLang="en-US">
                <a:solidFill>
                  <a:schemeClr val="bg1"/>
                </a:solidFill>
                <a:latin typeface="DM Sans"/>
              </a:rPr>
              <a:t> </a:t>
            </a:r>
            <a:r>
              <a:rPr lang="en-US" altLang="zh-CN">
                <a:solidFill>
                  <a:schemeClr val="bg1"/>
                </a:solidFill>
                <a:latin typeface="DM Sans"/>
              </a:rPr>
              <a:t>Potential</a:t>
            </a:r>
            <a:r>
              <a:rPr lang="zh-CN" altLang="en-US">
                <a:solidFill>
                  <a:schemeClr val="bg1"/>
                </a:solidFill>
                <a:latin typeface="DM Sans"/>
              </a:rPr>
              <a:t> </a:t>
            </a:r>
            <a:r>
              <a:rPr lang="en-US" altLang="zh-CN">
                <a:solidFill>
                  <a:schemeClr val="bg1"/>
                </a:solidFill>
                <a:latin typeface="DM Sans"/>
              </a:rPr>
              <a:t>Loyal</a:t>
            </a:r>
            <a:r>
              <a:rPr lang="zh-CN" altLang="en-US">
                <a:solidFill>
                  <a:schemeClr val="bg1"/>
                </a:solidFill>
                <a:latin typeface="DM Sans"/>
              </a:rPr>
              <a:t> </a:t>
            </a:r>
            <a:r>
              <a:rPr lang="en-US" altLang="zh-CN">
                <a:solidFill>
                  <a:schemeClr val="bg1"/>
                </a:solidFill>
                <a:latin typeface="DM Sans"/>
              </a:rPr>
              <a:t>&amp;</a:t>
            </a:r>
            <a:r>
              <a:rPr lang="zh-CN" altLang="en-US">
                <a:solidFill>
                  <a:schemeClr val="bg1"/>
                </a:solidFill>
                <a:latin typeface="DM Sans"/>
              </a:rPr>
              <a:t> </a:t>
            </a:r>
            <a:r>
              <a:rPr lang="en-US" altLang="zh-CN">
                <a:solidFill>
                  <a:schemeClr val="bg1"/>
                </a:solidFill>
                <a:latin typeface="DM Sans"/>
              </a:rPr>
              <a:t>Promising</a:t>
            </a:r>
            <a:r>
              <a:rPr lang="zh-CN" altLang="en-US">
                <a:solidFill>
                  <a:schemeClr val="bg1"/>
                </a:solidFill>
                <a:latin typeface="DM Sans"/>
              </a:rPr>
              <a:t> </a:t>
            </a:r>
            <a:r>
              <a:rPr lang="en-US" altLang="zh-CN">
                <a:solidFill>
                  <a:schemeClr val="bg1"/>
                </a:solidFill>
                <a:latin typeface="DM Sans"/>
              </a:rPr>
              <a:t>Loyal</a:t>
            </a:r>
            <a:r>
              <a:rPr lang="zh-CN" altLang="en-US">
                <a:solidFill>
                  <a:schemeClr val="bg1"/>
                </a:solidFill>
                <a:latin typeface="DM Sans"/>
              </a:rPr>
              <a:t> </a:t>
            </a:r>
            <a:r>
              <a:rPr lang="en-US" altLang="zh-CN">
                <a:solidFill>
                  <a:schemeClr val="bg1"/>
                </a:solidFill>
                <a:latin typeface="DM Sans"/>
              </a:rPr>
              <a:t>Customers:</a:t>
            </a:r>
          </a:p>
          <a:p>
            <a:pPr marL="285750" lvl="1" indent="-285750">
              <a:spcAft>
                <a:spcPts val="1200"/>
              </a:spcAft>
              <a:buClr>
                <a:schemeClr val="bg1"/>
              </a:buClr>
              <a:buFont typeface="Arial" panose="020B0604020202020204" pitchFamily="34" charset="0"/>
              <a:buChar char="•"/>
            </a:pPr>
            <a:r>
              <a:rPr lang="en-US">
                <a:solidFill>
                  <a:schemeClr val="bg1"/>
                </a:solidFill>
                <a:latin typeface="DM Sans"/>
              </a:rPr>
              <a:t>Offer loyalty discounts or rewards for frequent purchases.</a:t>
            </a:r>
            <a:r>
              <a:rPr lang="zh-CN" altLang="en-US">
                <a:solidFill>
                  <a:schemeClr val="bg1"/>
                </a:solidFill>
                <a:latin typeface="DM Sans"/>
              </a:rPr>
              <a:t> </a:t>
            </a:r>
            <a:r>
              <a:rPr lang="en-US" altLang="zh-CN">
                <a:solidFill>
                  <a:schemeClr val="bg1"/>
                </a:solidFill>
                <a:latin typeface="DM Sans"/>
              </a:rPr>
              <a:t>(e.g.</a:t>
            </a:r>
            <a:r>
              <a:rPr lang="zh-CN" altLang="en-US">
                <a:solidFill>
                  <a:schemeClr val="bg1"/>
                </a:solidFill>
                <a:latin typeface="DM Sans"/>
              </a:rPr>
              <a:t> </a:t>
            </a:r>
            <a:r>
              <a:rPr lang="en-US" altLang="zh-CN">
                <a:solidFill>
                  <a:schemeClr val="bg1"/>
                </a:solidFill>
                <a:latin typeface="DM Sans"/>
              </a:rPr>
              <a:t>furniture</a:t>
            </a:r>
            <a:r>
              <a:rPr lang="zh-CN" altLang="en-US">
                <a:solidFill>
                  <a:schemeClr val="bg1"/>
                </a:solidFill>
                <a:latin typeface="DM Sans"/>
              </a:rPr>
              <a:t> </a:t>
            </a:r>
            <a:r>
              <a:rPr lang="en-US" altLang="zh-CN">
                <a:solidFill>
                  <a:schemeClr val="bg1"/>
                </a:solidFill>
                <a:latin typeface="DM Sans"/>
              </a:rPr>
              <a:t>décor,</a:t>
            </a:r>
            <a:r>
              <a:rPr lang="zh-CN" altLang="en-US">
                <a:solidFill>
                  <a:schemeClr val="bg1"/>
                </a:solidFill>
                <a:latin typeface="DM Sans"/>
              </a:rPr>
              <a:t> </a:t>
            </a:r>
            <a:r>
              <a:rPr lang="en-US" altLang="zh-CN" err="1">
                <a:solidFill>
                  <a:schemeClr val="bg1"/>
                </a:solidFill>
                <a:latin typeface="DM Sans"/>
              </a:rPr>
              <a:t>bed&amp;bath</a:t>
            </a:r>
            <a:r>
              <a:rPr lang="en-US" altLang="zh-CN">
                <a:solidFill>
                  <a:schemeClr val="bg1"/>
                </a:solidFill>
                <a:latin typeface="DM Sans"/>
              </a:rPr>
              <a:t>,</a:t>
            </a:r>
            <a:r>
              <a:rPr lang="zh-CN" altLang="en-US">
                <a:solidFill>
                  <a:schemeClr val="bg1"/>
                </a:solidFill>
                <a:latin typeface="DM Sans"/>
              </a:rPr>
              <a:t> </a:t>
            </a:r>
            <a:r>
              <a:rPr lang="en-US" altLang="zh-CN">
                <a:solidFill>
                  <a:schemeClr val="bg1"/>
                </a:solidFill>
                <a:latin typeface="DM Sans"/>
              </a:rPr>
              <a:t>sports,</a:t>
            </a:r>
            <a:r>
              <a:rPr lang="zh-CN" altLang="en-US">
                <a:solidFill>
                  <a:schemeClr val="bg1"/>
                </a:solidFill>
                <a:latin typeface="DM Sans"/>
              </a:rPr>
              <a:t> </a:t>
            </a:r>
            <a:r>
              <a:rPr lang="en-US" altLang="zh-CN">
                <a:solidFill>
                  <a:schemeClr val="bg1"/>
                </a:solidFill>
                <a:latin typeface="DM Sans"/>
              </a:rPr>
              <a:t>etc..)</a:t>
            </a:r>
            <a:endParaRPr lang="en-US">
              <a:solidFill>
                <a:schemeClr val="bg1"/>
              </a:solidFill>
              <a:latin typeface="DM Sans" pitchFamily="2" charset="77"/>
            </a:endParaRPr>
          </a:p>
          <a:p>
            <a:pPr marL="285750" lvl="1" indent="-285750">
              <a:buClr>
                <a:schemeClr val="bg1"/>
              </a:buClr>
              <a:buFont typeface="Arial" panose="020B0604020202020204" pitchFamily="34" charset="0"/>
              <a:buChar char="•"/>
            </a:pPr>
            <a:r>
              <a:rPr lang="en-US">
                <a:solidFill>
                  <a:schemeClr val="bg1"/>
                </a:solidFill>
                <a:latin typeface="DM Sans"/>
              </a:rPr>
              <a:t>Engage with personalized email campaigns that showcase products similar to their previous purchases.</a:t>
            </a:r>
            <a:endParaRPr lang="en-US">
              <a:solidFill>
                <a:schemeClr val="bg1"/>
              </a:solidFill>
              <a:latin typeface="DM Sans" pitchFamily="2" charset="77"/>
            </a:endParaRPr>
          </a:p>
          <a:p>
            <a:endParaRPr lang="en-US">
              <a:solidFill>
                <a:schemeClr val="bg1"/>
              </a:solidFill>
              <a:latin typeface="DM Sans" pitchFamily="2" charset="77"/>
            </a:endParaRPr>
          </a:p>
        </p:txBody>
      </p:sp>
      <p:grpSp>
        <p:nvGrpSpPr>
          <p:cNvPr id="11" name="Google Shape;5287;p88">
            <a:extLst>
              <a:ext uri="{FF2B5EF4-FFF2-40B4-BE49-F238E27FC236}">
                <a16:creationId xmlns:a16="http://schemas.microsoft.com/office/drawing/2014/main" id="{F2D17334-B704-438F-319C-9566B33F7543}"/>
              </a:ext>
            </a:extLst>
          </p:cNvPr>
          <p:cNvGrpSpPr/>
          <p:nvPr/>
        </p:nvGrpSpPr>
        <p:grpSpPr>
          <a:xfrm>
            <a:off x="4414167" y="2668457"/>
            <a:ext cx="522816" cy="590132"/>
            <a:chOff x="3300325" y="249875"/>
            <a:chExt cx="433725" cy="480900"/>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p:grpSpPr>
        <p:sp>
          <p:nvSpPr>
            <p:cNvPr id="12" name="Google Shape;5288;p88">
              <a:extLst>
                <a:ext uri="{FF2B5EF4-FFF2-40B4-BE49-F238E27FC236}">
                  <a16:creationId xmlns:a16="http://schemas.microsoft.com/office/drawing/2014/main" id="{A1EFCBC8-1052-A54C-9AC1-529BDAD1ACE4}"/>
                </a:ext>
              </a:extLst>
            </p:cNvPr>
            <p:cNvSpPr/>
            <p:nvPr/>
          </p:nvSpPr>
          <p:spPr>
            <a:xfrm>
              <a:off x="3610875" y="334550"/>
              <a:ext cx="56475" cy="28250"/>
            </a:xfrm>
            <a:custGeom>
              <a:avLst/>
              <a:gdLst/>
              <a:ahLst/>
              <a:cxnLst/>
              <a:rect l="l" t="t" r="r" b="b"/>
              <a:pathLst>
                <a:path w="2259" h="1130" extrusionOk="0">
                  <a:moveTo>
                    <a:pt x="566" y="0"/>
                  </a:moveTo>
                  <a:cubicBezTo>
                    <a:pt x="253" y="0"/>
                    <a:pt x="0" y="253"/>
                    <a:pt x="0" y="567"/>
                  </a:cubicBezTo>
                  <a:cubicBezTo>
                    <a:pt x="0" y="877"/>
                    <a:pt x="253" y="1130"/>
                    <a:pt x="566" y="1130"/>
                  </a:cubicBezTo>
                  <a:lnTo>
                    <a:pt x="1696" y="1130"/>
                  </a:lnTo>
                  <a:cubicBezTo>
                    <a:pt x="2006" y="1130"/>
                    <a:pt x="2259" y="877"/>
                    <a:pt x="2259" y="567"/>
                  </a:cubicBezTo>
                  <a:cubicBezTo>
                    <a:pt x="2259" y="253"/>
                    <a:pt x="2006" y="0"/>
                    <a:pt x="16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3" name="Google Shape;5289;p88">
              <a:extLst>
                <a:ext uri="{FF2B5EF4-FFF2-40B4-BE49-F238E27FC236}">
                  <a16:creationId xmlns:a16="http://schemas.microsoft.com/office/drawing/2014/main" id="{A86984EB-4369-FA46-A426-786B240CF5B8}"/>
                </a:ext>
              </a:extLst>
            </p:cNvPr>
            <p:cNvSpPr/>
            <p:nvPr/>
          </p:nvSpPr>
          <p:spPr>
            <a:xfrm>
              <a:off x="3467675" y="249875"/>
              <a:ext cx="46400" cy="56475"/>
            </a:xfrm>
            <a:custGeom>
              <a:avLst/>
              <a:gdLst/>
              <a:ahLst/>
              <a:cxnLst/>
              <a:rect l="l" t="t" r="r" b="b"/>
              <a:pathLst>
                <a:path w="1856" h="2259" extrusionOk="0">
                  <a:moveTo>
                    <a:pt x="647" y="1"/>
                  </a:moveTo>
                  <a:cubicBezTo>
                    <a:pt x="562" y="1"/>
                    <a:pt x="476" y="20"/>
                    <a:pt x="395" y="60"/>
                  </a:cubicBezTo>
                  <a:cubicBezTo>
                    <a:pt x="115" y="198"/>
                    <a:pt x="1" y="539"/>
                    <a:pt x="142" y="819"/>
                  </a:cubicBezTo>
                  <a:lnTo>
                    <a:pt x="705" y="1948"/>
                  </a:lnTo>
                  <a:cubicBezTo>
                    <a:pt x="806" y="2144"/>
                    <a:pt x="1004" y="2259"/>
                    <a:pt x="1211" y="2259"/>
                  </a:cubicBezTo>
                  <a:cubicBezTo>
                    <a:pt x="1296" y="2259"/>
                    <a:pt x="1383" y="2239"/>
                    <a:pt x="1464" y="2198"/>
                  </a:cubicBezTo>
                  <a:cubicBezTo>
                    <a:pt x="1744" y="2059"/>
                    <a:pt x="1856" y="1722"/>
                    <a:pt x="1717" y="1442"/>
                  </a:cubicBezTo>
                  <a:lnTo>
                    <a:pt x="1151" y="313"/>
                  </a:lnTo>
                  <a:cubicBezTo>
                    <a:pt x="1053" y="114"/>
                    <a:pt x="853" y="1"/>
                    <a:pt x="64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4" name="Google Shape;5290;p88">
              <a:extLst>
                <a:ext uri="{FF2B5EF4-FFF2-40B4-BE49-F238E27FC236}">
                  <a16:creationId xmlns:a16="http://schemas.microsoft.com/office/drawing/2014/main" id="{B6FC8571-E381-7836-C6FF-82ED51A806C2}"/>
                </a:ext>
              </a:extLst>
            </p:cNvPr>
            <p:cNvSpPr/>
            <p:nvPr/>
          </p:nvSpPr>
          <p:spPr>
            <a:xfrm>
              <a:off x="3566525" y="249875"/>
              <a:ext cx="46400" cy="56475"/>
            </a:xfrm>
            <a:custGeom>
              <a:avLst/>
              <a:gdLst/>
              <a:ahLst/>
              <a:cxnLst/>
              <a:rect l="l" t="t" r="r" b="b"/>
              <a:pathLst>
                <a:path w="1856" h="2259" extrusionOk="0">
                  <a:moveTo>
                    <a:pt x="1210" y="1"/>
                  </a:moveTo>
                  <a:cubicBezTo>
                    <a:pt x="1003" y="1"/>
                    <a:pt x="803" y="114"/>
                    <a:pt x="705" y="313"/>
                  </a:cubicBezTo>
                  <a:lnTo>
                    <a:pt x="139" y="1442"/>
                  </a:lnTo>
                  <a:cubicBezTo>
                    <a:pt x="1" y="1719"/>
                    <a:pt x="115" y="2059"/>
                    <a:pt x="392" y="2198"/>
                  </a:cubicBezTo>
                  <a:cubicBezTo>
                    <a:pt x="474" y="2239"/>
                    <a:pt x="561" y="2259"/>
                    <a:pt x="646" y="2259"/>
                  </a:cubicBezTo>
                  <a:cubicBezTo>
                    <a:pt x="852" y="2259"/>
                    <a:pt x="1051" y="2144"/>
                    <a:pt x="1151" y="1948"/>
                  </a:cubicBezTo>
                  <a:lnTo>
                    <a:pt x="1714" y="819"/>
                  </a:lnTo>
                  <a:cubicBezTo>
                    <a:pt x="1856" y="539"/>
                    <a:pt x="1741" y="198"/>
                    <a:pt x="1461" y="60"/>
                  </a:cubicBezTo>
                  <a:cubicBezTo>
                    <a:pt x="1381" y="20"/>
                    <a:pt x="1295" y="1"/>
                    <a:pt x="121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5291;p88">
              <a:extLst>
                <a:ext uri="{FF2B5EF4-FFF2-40B4-BE49-F238E27FC236}">
                  <a16:creationId xmlns:a16="http://schemas.microsoft.com/office/drawing/2014/main" id="{04C3613E-3817-B183-807F-F167122150B6}"/>
                </a:ext>
              </a:extLst>
            </p:cNvPr>
            <p:cNvSpPr/>
            <p:nvPr/>
          </p:nvSpPr>
          <p:spPr>
            <a:xfrm>
              <a:off x="3413250" y="334550"/>
              <a:ext cx="56500" cy="28250"/>
            </a:xfrm>
            <a:custGeom>
              <a:avLst/>
              <a:gdLst/>
              <a:ahLst/>
              <a:cxnLst/>
              <a:rect l="l" t="t" r="r" b="b"/>
              <a:pathLst>
                <a:path w="2260" h="1130" extrusionOk="0">
                  <a:moveTo>
                    <a:pt x="567" y="0"/>
                  </a:moveTo>
                  <a:cubicBezTo>
                    <a:pt x="254" y="0"/>
                    <a:pt x="1" y="253"/>
                    <a:pt x="1" y="567"/>
                  </a:cubicBezTo>
                  <a:cubicBezTo>
                    <a:pt x="1" y="877"/>
                    <a:pt x="254" y="1130"/>
                    <a:pt x="567" y="1130"/>
                  </a:cubicBezTo>
                  <a:lnTo>
                    <a:pt x="1696" y="1130"/>
                  </a:lnTo>
                  <a:cubicBezTo>
                    <a:pt x="2006" y="1130"/>
                    <a:pt x="2259" y="877"/>
                    <a:pt x="2259" y="567"/>
                  </a:cubicBezTo>
                  <a:cubicBezTo>
                    <a:pt x="2259" y="253"/>
                    <a:pt x="2006" y="0"/>
                    <a:pt x="16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6" name="Google Shape;5292;p88">
              <a:extLst>
                <a:ext uri="{FF2B5EF4-FFF2-40B4-BE49-F238E27FC236}">
                  <a16:creationId xmlns:a16="http://schemas.microsoft.com/office/drawing/2014/main" id="{72F3E8F1-4FD8-3518-1C85-0332E3205D9F}"/>
                </a:ext>
              </a:extLst>
            </p:cNvPr>
            <p:cNvSpPr/>
            <p:nvPr/>
          </p:nvSpPr>
          <p:spPr>
            <a:xfrm>
              <a:off x="3300325" y="476675"/>
              <a:ext cx="84725" cy="254100"/>
            </a:xfrm>
            <a:custGeom>
              <a:avLst/>
              <a:gdLst/>
              <a:ahLst/>
              <a:cxnLst/>
              <a:rect l="l" t="t" r="r" b="b"/>
              <a:pathLst>
                <a:path w="3389" h="10164" extrusionOk="0">
                  <a:moveTo>
                    <a:pt x="567" y="1"/>
                  </a:moveTo>
                  <a:cubicBezTo>
                    <a:pt x="254" y="1"/>
                    <a:pt x="1" y="251"/>
                    <a:pt x="1" y="564"/>
                  </a:cubicBezTo>
                  <a:lnTo>
                    <a:pt x="1" y="9598"/>
                  </a:lnTo>
                  <a:cubicBezTo>
                    <a:pt x="1" y="9911"/>
                    <a:pt x="254" y="10164"/>
                    <a:pt x="567" y="10164"/>
                  </a:cubicBezTo>
                  <a:lnTo>
                    <a:pt x="2825" y="10164"/>
                  </a:lnTo>
                  <a:cubicBezTo>
                    <a:pt x="3136" y="10164"/>
                    <a:pt x="3389" y="9911"/>
                    <a:pt x="3389" y="9598"/>
                  </a:cubicBezTo>
                  <a:lnTo>
                    <a:pt x="3389" y="564"/>
                  </a:lnTo>
                  <a:cubicBezTo>
                    <a:pt x="3389" y="251"/>
                    <a:pt x="3136" y="1"/>
                    <a:pt x="282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7" name="Google Shape;5293;p88">
              <a:extLst>
                <a:ext uri="{FF2B5EF4-FFF2-40B4-BE49-F238E27FC236}">
                  <a16:creationId xmlns:a16="http://schemas.microsoft.com/office/drawing/2014/main" id="{E9C4DB82-6C91-E4BC-4C1C-15F40C54CBA3}"/>
                </a:ext>
              </a:extLst>
            </p:cNvPr>
            <p:cNvSpPr/>
            <p:nvPr/>
          </p:nvSpPr>
          <p:spPr>
            <a:xfrm>
              <a:off x="3413250" y="335525"/>
              <a:ext cx="320800" cy="395250"/>
            </a:xfrm>
            <a:custGeom>
              <a:avLst/>
              <a:gdLst/>
              <a:ahLst/>
              <a:cxnLst/>
              <a:rect l="l" t="t" r="r" b="b"/>
              <a:pathLst>
                <a:path w="12832" h="15810" extrusionOk="0">
                  <a:moveTo>
                    <a:pt x="3954" y="1"/>
                  </a:moveTo>
                  <a:cubicBezTo>
                    <a:pt x="3641" y="1"/>
                    <a:pt x="3388" y="254"/>
                    <a:pt x="3388" y="564"/>
                  </a:cubicBezTo>
                  <a:cubicBezTo>
                    <a:pt x="3388" y="1871"/>
                    <a:pt x="2879" y="4225"/>
                    <a:pt x="1922" y="5186"/>
                  </a:cubicBezTo>
                  <a:cubicBezTo>
                    <a:pt x="1274" y="5830"/>
                    <a:pt x="723" y="6065"/>
                    <a:pt x="1" y="6427"/>
                  </a:cubicBezTo>
                  <a:lnTo>
                    <a:pt x="1" y="14897"/>
                  </a:lnTo>
                  <a:cubicBezTo>
                    <a:pt x="1109" y="15268"/>
                    <a:pt x="2515" y="15810"/>
                    <a:pt x="4659" y="15810"/>
                  </a:cubicBezTo>
                  <a:lnTo>
                    <a:pt x="8351" y="15810"/>
                  </a:lnTo>
                  <a:cubicBezTo>
                    <a:pt x="9567" y="15810"/>
                    <a:pt x="10516" y="14680"/>
                    <a:pt x="10046" y="13491"/>
                  </a:cubicBezTo>
                  <a:cubicBezTo>
                    <a:pt x="11019" y="13226"/>
                    <a:pt x="11546" y="12172"/>
                    <a:pt x="11175" y="11233"/>
                  </a:cubicBezTo>
                  <a:cubicBezTo>
                    <a:pt x="12386" y="10901"/>
                    <a:pt x="12832" y="9408"/>
                    <a:pt x="11992" y="8468"/>
                  </a:cubicBezTo>
                  <a:cubicBezTo>
                    <a:pt x="12314" y="8107"/>
                    <a:pt x="12467" y="7625"/>
                    <a:pt x="12410" y="7143"/>
                  </a:cubicBezTo>
                  <a:cubicBezTo>
                    <a:pt x="12311" y="6267"/>
                    <a:pt x="11495" y="5647"/>
                    <a:pt x="10612" y="5647"/>
                  </a:cubicBezTo>
                  <a:lnTo>
                    <a:pt x="6213" y="5647"/>
                  </a:lnTo>
                  <a:cubicBezTo>
                    <a:pt x="6586" y="4975"/>
                    <a:pt x="6785" y="3081"/>
                    <a:pt x="6776" y="2307"/>
                  </a:cubicBezTo>
                  <a:cubicBezTo>
                    <a:pt x="6761" y="1027"/>
                    <a:pt x="5701" y="1"/>
                    <a:pt x="441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18" name="Google Shape;5364;p88">
            <a:extLst>
              <a:ext uri="{FF2B5EF4-FFF2-40B4-BE49-F238E27FC236}">
                <a16:creationId xmlns:a16="http://schemas.microsoft.com/office/drawing/2014/main" id="{D420AC31-B9FA-2FB3-38F5-35B96B5DE9A6}"/>
              </a:ext>
            </a:extLst>
          </p:cNvPr>
          <p:cNvGrpSpPr/>
          <p:nvPr/>
        </p:nvGrpSpPr>
        <p:grpSpPr>
          <a:xfrm>
            <a:off x="4389299" y="3659208"/>
            <a:ext cx="583959" cy="485026"/>
            <a:chOff x="1492676" y="1520750"/>
            <a:chExt cx="481825" cy="310577"/>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p:grpSpPr>
        <p:sp>
          <p:nvSpPr>
            <p:cNvPr id="19" name="Google Shape;5365;p88">
              <a:extLst>
                <a:ext uri="{FF2B5EF4-FFF2-40B4-BE49-F238E27FC236}">
                  <a16:creationId xmlns:a16="http://schemas.microsoft.com/office/drawing/2014/main" id="{58D0AE8E-20F3-3D13-3A7E-28B8E6D595D4}"/>
                </a:ext>
              </a:extLst>
            </p:cNvPr>
            <p:cNvSpPr/>
            <p:nvPr/>
          </p:nvSpPr>
          <p:spPr>
            <a:xfrm>
              <a:off x="1492676" y="1540402"/>
              <a:ext cx="481825" cy="290925"/>
            </a:xfrm>
            <a:custGeom>
              <a:avLst/>
              <a:gdLst/>
              <a:ahLst/>
              <a:cxnLst/>
              <a:rect l="l" t="t" r="r" b="b"/>
              <a:pathLst>
                <a:path w="19273" h="11637" extrusionOk="0">
                  <a:moveTo>
                    <a:pt x="266" y="1"/>
                  </a:moveTo>
                  <a:cubicBezTo>
                    <a:pt x="91" y="272"/>
                    <a:pt x="1" y="585"/>
                    <a:pt x="1" y="907"/>
                  </a:cubicBezTo>
                  <a:lnTo>
                    <a:pt x="1" y="9941"/>
                  </a:lnTo>
                  <a:cubicBezTo>
                    <a:pt x="1" y="10877"/>
                    <a:pt x="757" y="11633"/>
                    <a:pt x="1693" y="11636"/>
                  </a:cubicBezTo>
                  <a:lnTo>
                    <a:pt x="17577" y="11636"/>
                  </a:lnTo>
                  <a:cubicBezTo>
                    <a:pt x="18514" y="11633"/>
                    <a:pt x="19270" y="10877"/>
                    <a:pt x="19273" y="9941"/>
                  </a:cubicBezTo>
                  <a:lnTo>
                    <a:pt x="19273" y="907"/>
                  </a:lnTo>
                  <a:cubicBezTo>
                    <a:pt x="19270" y="585"/>
                    <a:pt x="19176" y="272"/>
                    <a:pt x="19005" y="1"/>
                  </a:cubicBezTo>
                  <a:lnTo>
                    <a:pt x="9974" y="7005"/>
                  </a:lnTo>
                  <a:cubicBezTo>
                    <a:pt x="9873" y="7080"/>
                    <a:pt x="9754" y="7118"/>
                    <a:pt x="9635" y="7118"/>
                  </a:cubicBezTo>
                  <a:cubicBezTo>
                    <a:pt x="9516" y="7118"/>
                    <a:pt x="9397" y="7080"/>
                    <a:pt x="9296" y="7005"/>
                  </a:cubicBezTo>
                  <a:lnTo>
                    <a:pt x="266"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0" name="Google Shape;5366;p88">
              <a:extLst>
                <a:ext uri="{FF2B5EF4-FFF2-40B4-BE49-F238E27FC236}">
                  <a16:creationId xmlns:a16="http://schemas.microsoft.com/office/drawing/2014/main" id="{2E84DAE2-7CE4-F7EB-49AE-73EC0D315B97}"/>
                </a:ext>
              </a:extLst>
            </p:cNvPr>
            <p:cNvSpPr/>
            <p:nvPr/>
          </p:nvSpPr>
          <p:spPr>
            <a:xfrm>
              <a:off x="1522575" y="1520750"/>
              <a:ext cx="421975" cy="165800"/>
            </a:xfrm>
            <a:custGeom>
              <a:avLst/>
              <a:gdLst/>
              <a:ahLst/>
              <a:cxnLst/>
              <a:rect l="l" t="t" r="r" b="b"/>
              <a:pathLst>
                <a:path w="16879" h="6632" extrusionOk="0">
                  <a:moveTo>
                    <a:pt x="497" y="1"/>
                  </a:moveTo>
                  <a:cubicBezTo>
                    <a:pt x="328" y="1"/>
                    <a:pt x="160" y="31"/>
                    <a:pt x="0" y="82"/>
                  </a:cubicBezTo>
                  <a:lnTo>
                    <a:pt x="8441" y="6631"/>
                  </a:lnTo>
                  <a:lnTo>
                    <a:pt x="16878" y="82"/>
                  </a:lnTo>
                  <a:cubicBezTo>
                    <a:pt x="16719" y="31"/>
                    <a:pt x="16550" y="1"/>
                    <a:pt x="1638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3" name="文本框 2">
            <a:extLst>
              <a:ext uri="{FF2B5EF4-FFF2-40B4-BE49-F238E27FC236}">
                <a16:creationId xmlns:a16="http://schemas.microsoft.com/office/drawing/2014/main" id="{64E52DE1-08E4-1B94-3D2D-9828DB59743D}"/>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6</a:t>
            </a:r>
          </a:p>
        </p:txBody>
      </p:sp>
    </p:spTree>
    <p:extLst>
      <p:ext uri="{BB962C8B-B14F-4D97-AF65-F5344CB8AC3E}">
        <p14:creationId xmlns:p14="http://schemas.microsoft.com/office/powerpoint/2010/main" val="40444004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61"/>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7B1535-CA0A-9974-055E-5C06B5BC54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4" name="think-cell data - do not delete" hidden="1">
                        <a:extLst>
                          <a:ext uri="{FF2B5EF4-FFF2-40B4-BE49-F238E27FC236}">
                            <a16:creationId xmlns:a16="http://schemas.microsoft.com/office/drawing/2014/main" id="{8E7B1535-CA0A-9974-055E-5C06B5BC54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62" name="Google Shape;962;p70"/>
          <p:cNvSpPr txBox="1">
            <a:spLocks noGrp="1"/>
          </p:cNvSpPr>
          <p:nvPr>
            <p:ph type="title"/>
          </p:nvPr>
        </p:nvSpPr>
        <p:spPr>
          <a:xfrm>
            <a:off x="2569123" y="2571750"/>
            <a:ext cx="3984806" cy="1457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sz="3600"/>
              <a:t>Future Work</a:t>
            </a:r>
            <a:r>
              <a:rPr lang="zh-CN" altLang="en-US" sz="3600"/>
              <a:t> </a:t>
            </a:r>
            <a:r>
              <a:rPr lang="en-US" altLang="zh-CN" sz="3600"/>
              <a:t>&amp;</a:t>
            </a:r>
            <a:r>
              <a:rPr lang="zh-CN" altLang="en-US" sz="3600"/>
              <a:t> </a:t>
            </a:r>
            <a:r>
              <a:rPr lang="en-US" altLang="zh-CN" sz="3600"/>
              <a:t>Preliminary</a:t>
            </a:r>
            <a:r>
              <a:rPr lang="zh-CN" altLang="en-US" sz="3600"/>
              <a:t> </a:t>
            </a:r>
            <a:r>
              <a:rPr lang="en-US" altLang="zh-CN" sz="3600"/>
              <a:t>Plan</a:t>
            </a:r>
            <a:endParaRPr lang="en-US" sz="3600"/>
          </a:p>
        </p:txBody>
      </p:sp>
      <p:pic>
        <p:nvPicPr>
          <p:cNvPr id="964" name="Google Shape;964;p70"/>
          <p:cNvPicPr preferRelativeResize="0"/>
          <p:nvPr/>
        </p:nvPicPr>
        <p:blipFill rotWithShape="1">
          <a:blip r:embed="rId6">
            <a:alphaModFix/>
          </a:blip>
          <a:srcRect l="10728" r="10728"/>
          <a:stretch/>
        </p:blipFill>
        <p:spPr>
          <a:xfrm>
            <a:off x="5726475" y="117100"/>
            <a:ext cx="3377649" cy="2484200"/>
          </a:xfrm>
          <a:prstGeom prst="rect">
            <a:avLst/>
          </a:prstGeom>
          <a:noFill/>
          <a:ln>
            <a:noFill/>
          </a:ln>
        </p:spPr>
      </p:pic>
      <p:pic>
        <p:nvPicPr>
          <p:cNvPr id="965" name="Google Shape;965;p70"/>
          <p:cNvPicPr preferRelativeResize="0"/>
          <p:nvPr/>
        </p:nvPicPr>
        <p:blipFill rotWithShape="1">
          <a:blip r:embed="rId7">
            <a:alphaModFix/>
          </a:blip>
          <a:srcRect l="12409" r="12424"/>
          <a:stretch/>
        </p:blipFill>
        <p:spPr>
          <a:xfrm>
            <a:off x="66288" y="-15725"/>
            <a:ext cx="3377650" cy="2749850"/>
          </a:xfrm>
          <a:prstGeom prst="rect">
            <a:avLst/>
          </a:prstGeom>
          <a:noFill/>
          <a:ln>
            <a:noFill/>
          </a:ln>
        </p:spPr>
      </p:pic>
      <p:sp>
        <p:nvSpPr>
          <p:cNvPr id="966" name="Google Shape;966;p70"/>
          <p:cNvSpPr txBox="1">
            <a:spLocks noGrp="1"/>
          </p:cNvSpPr>
          <p:nvPr>
            <p:ph type="title" idx="2"/>
          </p:nvPr>
        </p:nvSpPr>
        <p:spPr>
          <a:xfrm>
            <a:off x="3945600" y="1027350"/>
            <a:ext cx="1252800" cy="1251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6</a:t>
            </a:r>
            <a:endParaRPr/>
          </a:p>
        </p:txBody>
      </p:sp>
      <p:sp>
        <p:nvSpPr>
          <p:cNvPr id="3" name="文本框 2">
            <a:extLst>
              <a:ext uri="{FF2B5EF4-FFF2-40B4-BE49-F238E27FC236}">
                <a16:creationId xmlns:a16="http://schemas.microsoft.com/office/drawing/2014/main" id="{3EFE2CFB-20A3-5954-2105-D55644E03F38}"/>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7</a:t>
            </a:r>
          </a:p>
        </p:txBody>
      </p:sp>
    </p:spTree>
    <p:extLst>
      <p:ext uri="{BB962C8B-B14F-4D97-AF65-F5344CB8AC3E}">
        <p14:creationId xmlns:p14="http://schemas.microsoft.com/office/powerpoint/2010/main" val="24479051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oogle Shape;3940;p84">
            <a:extLst>
              <a:ext uri="{FF2B5EF4-FFF2-40B4-BE49-F238E27FC236}">
                <a16:creationId xmlns:a16="http://schemas.microsoft.com/office/drawing/2014/main" id="{179B9C2E-A024-4620-97DB-BD3545F2339F}"/>
              </a:ext>
            </a:extLst>
          </p:cNvPr>
          <p:cNvGrpSpPr/>
          <p:nvPr/>
        </p:nvGrpSpPr>
        <p:grpSpPr>
          <a:xfrm>
            <a:off x="596947" y="1471347"/>
            <a:ext cx="6784755" cy="3416537"/>
            <a:chOff x="3488333" y="1403299"/>
            <a:chExt cx="1604199" cy="901039"/>
          </a:xfrm>
        </p:grpSpPr>
        <p:cxnSp>
          <p:nvCxnSpPr>
            <p:cNvPr id="8" name="Google Shape;3941;p84">
              <a:extLst>
                <a:ext uri="{FF2B5EF4-FFF2-40B4-BE49-F238E27FC236}">
                  <a16:creationId xmlns:a16="http://schemas.microsoft.com/office/drawing/2014/main" id="{769507D3-A3B2-D2F8-7EFF-20EF75520C53}"/>
                </a:ext>
              </a:extLst>
            </p:cNvPr>
            <p:cNvCxnSpPr/>
            <p:nvPr/>
          </p:nvCxnSpPr>
          <p:spPr>
            <a:xfrm>
              <a:off x="3583832" y="1857562"/>
              <a:ext cx="1508700" cy="0"/>
            </a:xfrm>
            <a:prstGeom prst="straightConnector1">
              <a:avLst/>
            </a:prstGeom>
            <a:noFill/>
            <a:ln w="28575" cap="flat" cmpd="sng">
              <a:solidFill>
                <a:srgbClr val="A5B7C6"/>
              </a:solidFill>
              <a:prstDash val="solid"/>
              <a:round/>
              <a:headEnd type="none" w="med" len="med"/>
              <a:tailEnd type="triangle" w="med" len="med"/>
            </a:ln>
          </p:spPr>
        </p:cxnSp>
        <p:grpSp>
          <p:nvGrpSpPr>
            <p:cNvPr id="9" name="Google Shape;3942;p84">
              <a:extLst>
                <a:ext uri="{FF2B5EF4-FFF2-40B4-BE49-F238E27FC236}">
                  <a16:creationId xmlns:a16="http://schemas.microsoft.com/office/drawing/2014/main" id="{8C5EAF20-54F0-0219-A896-5D8F13140CFE}"/>
                </a:ext>
              </a:extLst>
            </p:cNvPr>
            <p:cNvGrpSpPr/>
            <p:nvPr/>
          </p:nvGrpSpPr>
          <p:grpSpPr>
            <a:xfrm>
              <a:off x="3488333" y="1403299"/>
              <a:ext cx="450465" cy="556473"/>
              <a:chOff x="3488333" y="1403299"/>
              <a:chExt cx="450465" cy="556473"/>
            </a:xfrm>
          </p:grpSpPr>
          <p:grpSp>
            <p:nvGrpSpPr>
              <p:cNvPr id="25" name="Google Shape;3943;p84">
                <a:extLst>
                  <a:ext uri="{FF2B5EF4-FFF2-40B4-BE49-F238E27FC236}">
                    <a16:creationId xmlns:a16="http://schemas.microsoft.com/office/drawing/2014/main" id="{4FD530C0-1A23-F53B-AA95-2CBF33296476}"/>
                  </a:ext>
                </a:extLst>
              </p:cNvPr>
              <p:cNvGrpSpPr/>
              <p:nvPr/>
            </p:nvGrpSpPr>
            <p:grpSpPr>
              <a:xfrm>
                <a:off x="3488333" y="1403299"/>
                <a:ext cx="450465" cy="454262"/>
                <a:chOff x="3488333" y="1403299"/>
                <a:chExt cx="450465" cy="454262"/>
              </a:xfrm>
            </p:grpSpPr>
            <p:cxnSp>
              <p:nvCxnSpPr>
                <p:cNvPr id="27" name="Google Shape;3944;p84">
                  <a:extLst>
                    <a:ext uri="{FF2B5EF4-FFF2-40B4-BE49-F238E27FC236}">
                      <a16:creationId xmlns:a16="http://schemas.microsoft.com/office/drawing/2014/main" id="{FF4B82D7-ACE9-096B-C7AF-DE39B68A8CEE}"/>
                    </a:ext>
                  </a:extLst>
                </p:cNvPr>
                <p:cNvCxnSpPr/>
                <p:nvPr/>
              </p:nvCxnSpPr>
              <p:spPr>
                <a:xfrm rot="10800000">
                  <a:off x="3626630"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28" name="Google Shape;3945;p84">
                  <a:extLst>
                    <a:ext uri="{FF2B5EF4-FFF2-40B4-BE49-F238E27FC236}">
                      <a16:creationId xmlns:a16="http://schemas.microsoft.com/office/drawing/2014/main" id="{B6799980-EBBF-647E-E986-E36454F02BAC}"/>
                    </a:ext>
                  </a:extLst>
                </p:cNvPr>
                <p:cNvSpPr/>
                <p:nvPr/>
              </p:nvSpPr>
              <p:spPr>
                <a:xfrm>
                  <a:off x="3488333" y="1403299"/>
                  <a:ext cx="450465" cy="168544"/>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solidFill>
                        <a:schemeClr val="bg1"/>
                      </a:solidFill>
                      <a:latin typeface="DM Sans" pitchFamily="2" charset="77"/>
                    </a:rPr>
                    <a:t>Request</a:t>
                  </a:r>
                  <a:r>
                    <a:rPr lang="zh-CN" altLang="en-US">
                      <a:solidFill>
                        <a:schemeClr val="bg1"/>
                      </a:solidFill>
                      <a:latin typeface="DM Sans" pitchFamily="2" charset="77"/>
                    </a:rPr>
                    <a:t> </a:t>
                  </a:r>
                  <a:r>
                    <a:rPr lang="en-US" altLang="zh-CN">
                      <a:solidFill>
                        <a:schemeClr val="bg1"/>
                      </a:solidFill>
                      <a:latin typeface="DM Sans" pitchFamily="2" charset="77"/>
                    </a:rPr>
                    <a:t>New</a:t>
                  </a:r>
                  <a:r>
                    <a:rPr lang="zh-CN" altLang="en-US">
                      <a:solidFill>
                        <a:schemeClr val="bg1"/>
                      </a:solidFill>
                      <a:latin typeface="DM Sans" pitchFamily="2" charset="77"/>
                    </a:rPr>
                    <a:t> </a:t>
                  </a:r>
                  <a:r>
                    <a:rPr lang="en-US" altLang="zh-CN">
                      <a:solidFill>
                        <a:schemeClr val="bg1"/>
                      </a:solidFill>
                      <a:latin typeface="DM Sans" pitchFamily="2" charset="77"/>
                    </a:rPr>
                    <a:t>Data</a:t>
                  </a:r>
                  <a:r>
                    <a:rPr lang="zh-CN" altLang="en-US">
                      <a:solidFill>
                        <a:schemeClr val="bg1"/>
                      </a:solidFill>
                      <a:latin typeface="DM Sans" pitchFamily="2" charset="77"/>
                    </a:rPr>
                    <a:t> </a:t>
                  </a:r>
                  <a:r>
                    <a:rPr lang="en-US" altLang="zh-CN">
                      <a:solidFill>
                        <a:schemeClr val="bg1"/>
                      </a:solidFill>
                      <a:latin typeface="DM Sans" pitchFamily="2" charset="77"/>
                    </a:rPr>
                    <a:t>of</a:t>
                  </a:r>
                  <a:r>
                    <a:rPr lang="zh-CN" altLang="en-US">
                      <a:solidFill>
                        <a:schemeClr val="bg1"/>
                      </a:solidFill>
                      <a:latin typeface="DM Sans" pitchFamily="2" charset="77"/>
                    </a:rPr>
                    <a:t> </a:t>
                  </a:r>
                  <a:r>
                    <a:rPr lang="en-US" altLang="zh-CN">
                      <a:solidFill>
                        <a:schemeClr val="bg1"/>
                      </a:solidFill>
                      <a:latin typeface="DM Sans" pitchFamily="2" charset="77"/>
                    </a:rPr>
                    <a:t>Customer</a:t>
                  </a:r>
                  <a:r>
                    <a:rPr lang="zh-CN" altLang="en-US">
                      <a:solidFill>
                        <a:schemeClr val="bg1"/>
                      </a:solidFill>
                      <a:latin typeface="DM Sans" pitchFamily="2" charset="77"/>
                    </a:rPr>
                    <a:t> </a:t>
                  </a:r>
                  <a:r>
                    <a:rPr lang="en-US" altLang="zh-CN">
                      <a:solidFill>
                        <a:schemeClr val="bg1"/>
                      </a:solidFill>
                      <a:latin typeface="DM Sans" pitchFamily="2" charset="77"/>
                    </a:rPr>
                    <a:t>Demographics</a:t>
                  </a:r>
                  <a:endParaRPr>
                    <a:solidFill>
                      <a:schemeClr val="bg1"/>
                    </a:solidFill>
                    <a:latin typeface="DM Sans" pitchFamily="2" charset="77"/>
                  </a:endParaRPr>
                </a:p>
              </p:txBody>
            </p:sp>
          </p:grpSp>
          <p:sp>
            <p:nvSpPr>
              <p:cNvPr id="26" name="Google Shape;3946;p84">
                <a:extLst>
                  <a:ext uri="{FF2B5EF4-FFF2-40B4-BE49-F238E27FC236}">
                    <a16:creationId xmlns:a16="http://schemas.microsoft.com/office/drawing/2014/main" id="{4CA9A8A8-B9A1-5E0D-E200-1D565CE579D4}"/>
                  </a:ext>
                </a:extLst>
              </p:cNvPr>
              <p:cNvSpPr/>
              <p:nvPr/>
            </p:nvSpPr>
            <p:spPr>
              <a:xfrm>
                <a:off x="3535832" y="1746569"/>
                <a:ext cx="228039" cy="213203"/>
              </a:xfrm>
              <a:prstGeom prst="ellipse">
                <a:avLst/>
              </a:prstGeom>
              <a:gradFill flip="none" rotWithShape="1">
                <a:gsLst>
                  <a:gs pos="0">
                    <a:schemeClr val="accent2"/>
                  </a:gs>
                  <a:gs pos="27000">
                    <a:schemeClr val="accent2"/>
                  </a:gs>
                  <a:gs pos="100000">
                    <a:schemeClr val="accent2">
                      <a:tint val="23500"/>
                      <a:satMod val="160000"/>
                    </a:schemeClr>
                  </a:gs>
                </a:gsLst>
                <a:path path="circle">
                  <a:fillToRect l="100000" t="100000"/>
                </a:path>
                <a:tileRect r="-100000" b="-100000"/>
              </a:gra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sz="1100" b="1">
                    <a:solidFill>
                      <a:schemeClr val="bg1"/>
                    </a:solidFill>
                    <a:latin typeface="DM Sans" pitchFamily="2" charset="77"/>
                  </a:rPr>
                  <a:t>Week</a:t>
                </a:r>
                <a:r>
                  <a:rPr lang="zh-CN" altLang="en-US" sz="1100" b="1">
                    <a:solidFill>
                      <a:schemeClr val="bg1"/>
                    </a:solidFill>
                    <a:latin typeface="DM Sans" pitchFamily="2" charset="77"/>
                  </a:rPr>
                  <a:t> </a:t>
                </a:r>
                <a:r>
                  <a:rPr lang="en-US" altLang="zh-CN" sz="1100" b="1">
                    <a:solidFill>
                      <a:schemeClr val="bg1"/>
                    </a:solidFill>
                    <a:latin typeface="DM Sans" pitchFamily="2" charset="77"/>
                  </a:rPr>
                  <a:t>1</a:t>
                </a:r>
                <a:endParaRPr sz="1100" b="1">
                  <a:solidFill>
                    <a:schemeClr val="bg1"/>
                  </a:solidFill>
                  <a:latin typeface="DM Sans" pitchFamily="2" charset="77"/>
                </a:endParaRPr>
              </a:p>
            </p:txBody>
          </p:sp>
        </p:grpSp>
        <p:grpSp>
          <p:nvGrpSpPr>
            <p:cNvPr id="10" name="Google Shape;3947;p84">
              <a:extLst>
                <a:ext uri="{FF2B5EF4-FFF2-40B4-BE49-F238E27FC236}">
                  <a16:creationId xmlns:a16="http://schemas.microsoft.com/office/drawing/2014/main" id="{B3FD4F65-7462-A366-8B2B-C517FC350F30}"/>
                </a:ext>
              </a:extLst>
            </p:cNvPr>
            <p:cNvGrpSpPr/>
            <p:nvPr/>
          </p:nvGrpSpPr>
          <p:grpSpPr>
            <a:xfrm>
              <a:off x="3851352" y="1756479"/>
              <a:ext cx="344953" cy="547859"/>
              <a:chOff x="3851352" y="1756479"/>
              <a:chExt cx="344953" cy="547859"/>
            </a:xfrm>
          </p:grpSpPr>
          <p:grpSp>
            <p:nvGrpSpPr>
              <p:cNvPr id="21" name="Google Shape;3948;p84">
                <a:extLst>
                  <a:ext uri="{FF2B5EF4-FFF2-40B4-BE49-F238E27FC236}">
                    <a16:creationId xmlns:a16="http://schemas.microsoft.com/office/drawing/2014/main" id="{E7451A37-28B6-2915-1DA5-2FE690E11EF3}"/>
                  </a:ext>
                </a:extLst>
              </p:cNvPr>
              <p:cNvGrpSpPr/>
              <p:nvPr/>
            </p:nvGrpSpPr>
            <p:grpSpPr>
              <a:xfrm>
                <a:off x="3851352" y="1881638"/>
                <a:ext cx="344953" cy="422700"/>
                <a:chOff x="3851352" y="1881638"/>
                <a:chExt cx="344953" cy="422700"/>
              </a:xfrm>
            </p:grpSpPr>
            <p:cxnSp>
              <p:nvCxnSpPr>
                <p:cNvPr id="23" name="Google Shape;3949;p84">
                  <a:extLst>
                    <a:ext uri="{FF2B5EF4-FFF2-40B4-BE49-F238E27FC236}">
                      <a16:creationId xmlns:a16="http://schemas.microsoft.com/office/drawing/2014/main" id="{FB5FFDF0-2BCF-C9D5-7BF4-F64369080502}"/>
                    </a:ext>
                  </a:extLst>
                </p:cNvPr>
                <p:cNvCxnSpPr/>
                <p:nvPr/>
              </p:nvCxnSpPr>
              <p:spPr>
                <a:xfrm rot="10800000">
                  <a:off x="3988388" y="1881638"/>
                  <a:ext cx="0" cy="291900"/>
                </a:xfrm>
                <a:prstGeom prst="straightConnector1">
                  <a:avLst/>
                </a:prstGeom>
                <a:noFill/>
                <a:ln w="28575" cap="flat" cmpd="sng">
                  <a:solidFill>
                    <a:srgbClr val="A5B7C6"/>
                  </a:solidFill>
                  <a:prstDash val="solid"/>
                  <a:round/>
                  <a:headEnd type="none" w="med" len="med"/>
                  <a:tailEnd type="none" w="med" len="med"/>
                </a:ln>
              </p:spPr>
            </p:cxnSp>
            <p:sp>
              <p:nvSpPr>
                <p:cNvPr id="24" name="Google Shape;3950;p84">
                  <a:extLst>
                    <a:ext uri="{FF2B5EF4-FFF2-40B4-BE49-F238E27FC236}">
                      <a16:creationId xmlns:a16="http://schemas.microsoft.com/office/drawing/2014/main" id="{48CB4006-4825-AC17-AA7F-CE69994EF635}"/>
                    </a:ext>
                  </a:extLst>
                </p:cNvPr>
                <p:cNvSpPr/>
                <p:nvPr/>
              </p:nvSpPr>
              <p:spPr>
                <a:xfrm>
                  <a:off x="3851352" y="2121651"/>
                  <a:ext cx="344953" cy="182687"/>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solidFill>
                        <a:schemeClr val="bg1"/>
                      </a:solidFill>
                      <a:latin typeface="DM Sans" pitchFamily="2" charset="77"/>
                    </a:rPr>
                    <a:t>Data</a:t>
                  </a:r>
                  <a:r>
                    <a:rPr lang="zh-CN" altLang="en-US">
                      <a:solidFill>
                        <a:schemeClr val="bg1"/>
                      </a:solidFill>
                      <a:latin typeface="DM Sans" pitchFamily="2" charset="77"/>
                    </a:rPr>
                    <a:t> </a:t>
                  </a:r>
                  <a:r>
                    <a:rPr lang="en-US" altLang="zh-CN">
                      <a:solidFill>
                        <a:schemeClr val="bg1"/>
                      </a:solidFill>
                      <a:latin typeface="DM Sans" pitchFamily="2" charset="77"/>
                    </a:rPr>
                    <a:t>Analysis</a:t>
                  </a:r>
                  <a:r>
                    <a:rPr lang="zh-CN" altLang="en-US">
                      <a:solidFill>
                        <a:schemeClr val="bg1"/>
                      </a:solidFill>
                      <a:latin typeface="DM Sans" pitchFamily="2" charset="77"/>
                    </a:rPr>
                    <a:t> </a:t>
                  </a:r>
                  <a:r>
                    <a:rPr lang="en-US" altLang="zh-CN">
                      <a:solidFill>
                        <a:schemeClr val="bg1"/>
                      </a:solidFill>
                      <a:latin typeface="DM Sans" pitchFamily="2" charset="77"/>
                    </a:rPr>
                    <a:t>and</a:t>
                  </a:r>
                  <a:r>
                    <a:rPr lang="zh-CN" altLang="en-US">
                      <a:solidFill>
                        <a:schemeClr val="bg1"/>
                      </a:solidFill>
                      <a:latin typeface="DM Sans" pitchFamily="2" charset="77"/>
                    </a:rPr>
                    <a:t> </a:t>
                  </a:r>
                  <a:r>
                    <a:rPr lang="en-US" altLang="zh-CN">
                      <a:solidFill>
                        <a:schemeClr val="bg1"/>
                      </a:solidFill>
                      <a:latin typeface="DM Sans" pitchFamily="2" charset="77"/>
                    </a:rPr>
                    <a:t>Modeling</a:t>
                  </a:r>
                  <a:endParaRPr>
                    <a:solidFill>
                      <a:schemeClr val="bg1"/>
                    </a:solidFill>
                    <a:latin typeface="DM Sans" pitchFamily="2" charset="77"/>
                  </a:endParaRPr>
                </a:p>
              </p:txBody>
            </p:sp>
          </p:grpSp>
          <p:sp>
            <p:nvSpPr>
              <p:cNvPr id="22" name="Google Shape;3951;p84">
                <a:extLst>
                  <a:ext uri="{FF2B5EF4-FFF2-40B4-BE49-F238E27FC236}">
                    <a16:creationId xmlns:a16="http://schemas.microsoft.com/office/drawing/2014/main" id="{5739A2B6-786D-58A3-CECC-A8692D93CC6D}"/>
                  </a:ext>
                </a:extLst>
              </p:cNvPr>
              <p:cNvSpPr/>
              <p:nvPr/>
            </p:nvSpPr>
            <p:spPr>
              <a:xfrm>
                <a:off x="3891569" y="1756479"/>
                <a:ext cx="206784" cy="210530"/>
              </a:xfrm>
              <a:prstGeom prst="ellipse">
                <a:avLst/>
              </a:prstGeom>
              <a:gradFill flip="none" rotWithShape="1">
                <a:gsLst>
                  <a:gs pos="0">
                    <a:schemeClr val="accent2"/>
                  </a:gs>
                  <a:gs pos="27000">
                    <a:schemeClr val="accent2"/>
                  </a:gs>
                  <a:gs pos="100000">
                    <a:schemeClr val="accent2">
                      <a:tint val="23500"/>
                      <a:satMod val="160000"/>
                    </a:schemeClr>
                  </a:gs>
                </a:gsLst>
                <a:path path="circle">
                  <a:fillToRect l="100000" t="100000"/>
                </a:path>
                <a:tileRect r="-100000" b="-100000"/>
              </a:gradFill>
              <a:ln>
                <a:noFill/>
              </a:ln>
            </p:spPr>
            <p:txBody>
              <a:bodyPr spcFirstLastPara="1" wrap="square" lIns="91425" tIns="91425" rIns="91425" bIns="91425" anchor="ctr" anchorCtr="0">
                <a:noAutofit/>
              </a:bodyPr>
              <a:lstStyle/>
              <a:p>
                <a:r>
                  <a:rPr lang="en-US" altLang="zh-CN" sz="1200" b="1">
                    <a:solidFill>
                      <a:schemeClr val="bg1"/>
                    </a:solidFill>
                    <a:latin typeface="DM Sans" pitchFamily="2" charset="77"/>
                  </a:rPr>
                  <a:t>Week</a:t>
                </a:r>
                <a:r>
                  <a:rPr lang="zh-CN" altLang="en-US" sz="1200" b="1">
                    <a:solidFill>
                      <a:schemeClr val="bg1"/>
                    </a:solidFill>
                    <a:latin typeface="DM Sans" pitchFamily="2" charset="77"/>
                  </a:rPr>
                  <a:t> </a:t>
                </a:r>
                <a:r>
                  <a:rPr lang="en-US" altLang="zh-CN" sz="1200" b="1">
                    <a:solidFill>
                      <a:schemeClr val="bg1"/>
                    </a:solidFill>
                    <a:latin typeface="DM Sans" pitchFamily="2" charset="77"/>
                  </a:rPr>
                  <a:t>2-3</a:t>
                </a:r>
                <a:endParaRPr sz="1200" b="1">
                  <a:solidFill>
                    <a:schemeClr val="bg1"/>
                  </a:solidFill>
                  <a:latin typeface="DM Sans" pitchFamily="2" charset="77"/>
                </a:endParaRPr>
              </a:p>
            </p:txBody>
          </p:sp>
        </p:grpSp>
        <p:grpSp>
          <p:nvGrpSpPr>
            <p:cNvPr id="11" name="Google Shape;3952;p84">
              <a:extLst>
                <a:ext uri="{FF2B5EF4-FFF2-40B4-BE49-F238E27FC236}">
                  <a16:creationId xmlns:a16="http://schemas.microsoft.com/office/drawing/2014/main" id="{0515BF4A-F746-F7A6-FC99-E598CDA834BB}"/>
                </a:ext>
              </a:extLst>
            </p:cNvPr>
            <p:cNvGrpSpPr/>
            <p:nvPr/>
          </p:nvGrpSpPr>
          <p:grpSpPr>
            <a:xfrm>
              <a:off x="4158455" y="1410350"/>
              <a:ext cx="500110" cy="549422"/>
              <a:chOff x="4158455" y="1410350"/>
              <a:chExt cx="500110" cy="549422"/>
            </a:xfrm>
          </p:grpSpPr>
          <p:grpSp>
            <p:nvGrpSpPr>
              <p:cNvPr id="17" name="Google Shape;3953;p84">
                <a:extLst>
                  <a:ext uri="{FF2B5EF4-FFF2-40B4-BE49-F238E27FC236}">
                    <a16:creationId xmlns:a16="http://schemas.microsoft.com/office/drawing/2014/main" id="{BBEC8B4E-5060-1588-680C-68D700668997}"/>
                  </a:ext>
                </a:extLst>
              </p:cNvPr>
              <p:cNvGrpSpPr/>
              <p:nvPr/>
            </p:nvGrpSpPr>
            <p:grpSpPr>
              <a:xfrm>
                <a:off x="4158455" y="1410350"/>
                <a:ext cx="500110" cy="447211"/>
                <a:chOff x="4158455" y="1410350"/>
                <a:chExt cx="500110" cy="447211"/>
              </a:xfrm>
            </p:grpSpPr>
            <p:cxnSp>
              <p:nvCxnSpPr>
                <p:cNvPr id="19" name="Google Shape;3954;p84">
                  <a:extLst>
                    <a:ext uri="{FF2B5EF4-FFF2-40B4-BE49-F238E27FC236}">
                      <a16:creationId xmlns:a16="http://schemas.microsoft.com/office/drawing/2014/main" id="{083A7C8B-E2E3-2B27-C08A-FCD4C9E09AF0}"/>
                    </a:ext>
                  </a:extLst>
                </p:cNvPr>
                <p:cNvCxnSpPr/>
                <p:nvPr/>
              </p:nvCxnSpPr>
              <p:spPr>
                <a:xfrm rot="10800000">
                  <a:off x="4349995"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20" name="Google Shape;3955;p84">
                  <a:extLst>
                    <a:ext uri="{FF2B5EF4-FFF2-40B4-BE49-F238E27FC236}">
                      <a16:creationId xmlns:a16="http://schemas.microsoft.com/office/drawing/2014/main" id="{08B15D46-83D2-CC19-D72B-377178CEA3CC}"/>
                    </a:ext>
                  </a:extLst>
                </p:cNvPr>
                <p:cNvSpPr/>
                <p:nvPr/>
              </p:nvSpPr>
              <p:spPr>
                <a:xfrm>
                  <a:off x="4158455" y="1410350"/>
                  <a:ext cx="500110" cy="168544"/>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solidFill>
                        <a:schemeClr val="bg1"/>
                      </a:solidFill>
                      <a:latin typeface="DM Sans" pitchFamily="2" charset="77"/>
                    </a:rPr>
                    <a:t>Develop</a:t>
                  </a:r>
                  <a:r>
                    <a:rPr lang="zh-CN" altLang="en-US">
                      <a:solidFill>
                        <a:schemeClr val="bg1"/>
                      </a:solidFill>
                      <a:latin typeface="DM Sans" pitchFamily="2" charset="77"/>
                    </a:rPr>
                    <a:t> </a:t>
                  </a:r>
                  <a:r>
                    <a:rPr lang="en-US" altLang="zh-CN">
                      <a:solidFill>
                        <a:schemeClr val="bg1"/>
                      </a:solidFill>
                      <a:latin typeface="DM Sans" pitchFamily="2" charset="77"/>
                    </a:rPr>
                    <a:t>Collaborative</a:t>
                  </a:r>
                  <a:r>
                    <a:rPr lang="zh-CN" altLang="en-US">
                      <a:solidFill>
                        <a:schemeClr val="bg1"/>
                      </a:solidFill>
                      <a:latin typeface="DM Sans" pitchFamily="2" charset="77"/>
                    </a:rPr>
                    <a:t> </a:t>
                  </a:r>
                  <a:r>
                    <a:rPr lang="en-US" altLang="zh-CN">
                      <a:solidFill>
                        <a:schemeClr val="bg1"/>
                      </a:solidFill>
                      <a:latin typeface="DM Sans" pitchFamily="2" charset="77"/>
                    </a:rPr>
                    <a:t>Filtering</a:t>
                  </a:r>
                  <a:r>
                    <a:rPr lang="zh-CN" altLang="en-US">
                      <a:solidFill>
                        <a:schemeClr val="bg1"/>
                      </a:solidFill>
                      <a:latin typeface="DM Sans" pitchFamily="2" charset="77"/>
                    </a:rPr>
                    <a:t> </a:t>
                  </a:r>
                  <a:r>
                    <a:rPr lang="en-US" altLang="zh-CN">
                      <a:solidFill>
                        <a:schemeClr val="bg1"/>
                      </a:solidFill>
                      <a:latin typeface="DM Sans" pitchFamily="2" charset="77"/>
                    </a:rPr>
                    <a:t>for</a:t>
                  </a:r>
                  <a:r>
                    <a:rPr lang="zh-CN" altLang="en-US">
                      <a:solidFill>
                        <a:schemeClr val="bg1"/>
                      </a:solidFill>
                      <a:latin typeface="DM Sans" pitchFamily="2" charset="77"/>
                    </a:rPr>
                    <a:t> </a:t>
                  </a:r>
                  <a:r>
                    <a:rPr lang="en-US" altLang="zh-CN">
                      <a:solidFill>
                        <a:schemeClr val="bg1"/>
                      </a:solidFill>
                      <a:latin typeface="DM Sans" pitchFamily="2" charset="77"/>
                    </a:rPr>
                    <a:t>Recommendation</a:t>
                  </a:r>
                  <a:r>
                    <a:rPr lang="zh-CN" altLang="en-US">
                      <a:solidFill>
                        <a:schemeClr val="bg1"/>
                      </a:solidFill>
                      <a:latin typeface="DM Sans" pitchFamily="2" charset="77"/>
                    </a:rPr>
                    <a:t> </a:t>
                  </a:r>
                  <a:r>
                    <a:rPr lang="en-US" altLang="zh-CN">
                      <a:solidFill>
                        <a:schemeClr val="bg1"/>
                      </a:solidFill>
                      <a:latin typeface="DM Sans" pitchFamily="2" charset="77"/>
                    </a:rPr>
                    <a:t>Engine</a:t>
                  </a:r>
                  <a:endParaRPr>
                    <a:solidFill>
                      <a:schemeClr val="bg1"/>
                    </a:solidFill>
                    <a:latin typeface="DM Sans" pitchFamily="2" charset="77"/>
                  </a:endParaRPr>
                </a:p>
              </p:txBody>
            </p:sp>
          </p:grpSp>
          <p:sp>
            <p:nvSpPr>
              <p:cNvPr id="18" name="Google Shape;3956;p84">
                <a:extLst>
                  <a:ext uri="{FF2B5EF4-FFF2-40B4-BE49-F238E27FC236}">
                    <a16:creationId xmlns:a16="http://schemas.microsoft.com/office/drawing/2014/main" id="{ECB52FA3-A2D2-FBB0-1871-C93CC9F36AE1}"/>
                  </a:ext>
                </a:extLst>
              </p:cNvPr>
              <p:cNvSpPr/>
              <p:nvPr/>
            </p:nvSpPr>
            <p:spPr>
              <a:xfrm>
                <a:off x="4252606" y="1756479"/>
                <a:ext cx="203808" cy="203293"/>
              </a:xfrm>
              <a:prstGeom prst="ellipse">
                <a:avLst/>
              </a:prstGeom>
              <a:gradFill flip="none" rotWithShape="1">
                <a:gsLst>
                  <a:gs pos="0">
                    <a:schemeClr val="accent2"/>
                  </a:gs>
                  <a:gs pos="27000">
                    <a:schemeClr val="accent2"/>
                  </a:gs>
                  <a:gs pos="100000">
                    <a:schemeClr val="accent2">
                      <a:tint val="23500"/>
                      <a:satMod val="160000"/>
                    </a:schemeClr>
                  </a:gs>
                </a:gsLst>
                <a:path path="circle">
                  <a:fillToRect l="100000" t="100000"/>
                </a:path>
                <a:tileRect r="-100000" b="-100000"/>
              </a:gradFill>
              <a:ln>
                <a:noFill/>
              </a:ln>
            </p:spPr>
            <p:txBody>
              <a:bodyPr spcFirstLastPara="1" wrap="square" lIns="91425" tIns="91425" rIns="91425" bIns="91425" anchor="ctr" anchorCtr="0">
                <a:noAutofit/>
              </a:bodyPr>
              <a:lstStyle/>
              <a:p>
                <a:r>
                  <a:rPr lang="en-US" altLang="zh-CN" sz="1200" b="1">
                    <a:solidFill>
                      <a:schemeClr val="bg1"/>
                    </a:solidFill>
                    <a:latin typeface="DM Sans" pitchFamily="2" charset="77"/>
                  </a:rPr>
                  <a:t>Week</a:t>
                </a:r>
                <a:r>
                  <a:rPr lang="zh-CN" altLang="en-US" sz="1200" b="1">
                    <a:solidFill>
                      <a:schemeClr val="bg1"/>
                    </a:solidFill>
                    <a:latin typeface="DM Sans" pitchFamily="2" charset="77"/>
                  </a:rPr>
                  <a:t> </a:t>
                </a:r>
                <a:r>
                  <a:rPr lang="en-US" altLang="zh-CN" sz="1200" b="1">
                    <a:solidFill>
                      <a:schemeClr val="bg1"/>
                    </a:solidFill>
                    <a:latin typeface="DM Sans" pitchFamily="2" charset="77"/>
                  </a:rPr>
                  <a:t>4-6</a:t>
                </a:r>
                <a:endParaRPr sz="1200" b="1">
                  <a:solidFill>
                    <a:schemeClr val="bg1"/>
                  </a:solidFill>
                  <a:latin typeface="DM Sans" pitchFamily="2" charset="77"/>
                </a:endParaRPr>
              </a:p>
            </p:txBody>
          </p:sp>
        </p:grpSp>
        <p:grpSp>
          <p:nvGrpSpPr>
            <p:cNvPr id="12" name="Google Shape;3957;p84">
              <a:extLst>
                <a:ext uri="{FF2B5EF4-FFF2-40B4-BE49-F238E27FC236}">
                  <a16:creationId xmlns:a16="http://schemas.microsoft.com/office/drawing/2014/main" id="{6FE097CC-3C48-0F4E-79D4-7D8A1F6A8A05}"/>
                </a:ext>
              </a:extLst>
            </p:cNvPr>
            <p:cNvGrpSpPr/>
            <p:nvPr/>
          </p:nvGrpSpPr>
          <p:grpSpPr>
            <a:xfrm>
              <a:off x="4473304" y="1748223"/>
              <a:ext cx="587780" cy="556115"/>
              <a:chOff x="4473304" y="1748223"/>
              <a:chExt cx="587780" cy="556115"/>
            </a:xfrm>
          </p:grpSpPr>
          <p:grpSp>
            <p:nvGrpSpPr>
              <p:cNvPr id="13" name="Google Shape;3958;p84">
                <a:extLst>
                  <a:ext uri="{FF2B5EF4-FFF2-40B4-BE49-F238E27FC236}">
                    <a16:creationId xmlns:a16="http://schemas.microsoft.com/office/drawing/2014/main" id="{F2719E60-2AEB-FFB1-7BF8-ACE5337FECD6}"/>
                  </a:ext>
                </a:extLst>
              </p:cNvPr>
              <p:cNvGrpSpPr/>
              <p:nvPr/>
            </p:nvGrpSpPr>
            <p:grpSpPr>
              <a:xfrm>
                <a:off x="4473304" y="1879538"/>
                <a:ext cx="587780" cy="424800"/>
                <a:chOff x="4473304" y="1879538"/>
                <a:chExt cx="587780" cy="424800"/>
              </a:xfrm>
            </p:grpSpPr>
            <p:cxnSp>
              <p:nvCxnSpPr>
                <p:cNvPr id="15" name="Google Shape;3959;p84">
                  <a:extLst>
                    <a:ext uri="{FF2B5EF4-FFF2-40B4-BE49-F238E27FC236}">
                      <a16:creationId xmlns:a16="http://schemas.microsoft.com/office/drawing/2014/main" id="{00854A6D-60EB-5267-7DDE-CEF7FA09B316}"/>
                    </a:ext>
                  </a:extLst>
                </p:cNvPr>
                <p:cNvCxnSpPr/>
                <p:nvPr/>
              </p:nvCxnSpPr>
              <p:spPr>
                <a:xfrm rot="10800000">
                  <a:off x="4707486" y="1879538"/>
                  <a:ext cx="0" cy="294000"/>
                </a:xfrm>
                <a:prstGeom prst="straightConnector1">
                  <a:avLst/>
                </a:prstGeom>
                <a:noFill/>
                <a:ln w="28575" cap="flat" cmpd="sng">
                  <a:solidFill>
                    <a:srgbClr val="A5B7C6"/>
                  </a:solidFill>
                  <a:prstDash val="solid"/>
                  <a:round/>
                  <a:headEnd type="none" w="med" len="med"/>
                  <a:tailEnd type="none" w="med" len="med"/>
                </a:ln>
              </p:spPr>
            </p:cxnSp>
            <p:sp>
              <p:nvSpPr>
                <p:cNvPr id="16" name="Google Shape;3960;p84">
                  <a:extLst>
                    <a:ext uri="{FF2B5EF4-FFF2-40B4-BE49-F238E27FC236}">
                      <a16:creationId xmlns:a16="http://schemas.microsoft.com/office/drawing/2014/main" id="{749224F8-668C-4645-32EB-CE727B0EBE55}"/>
                    </a:ext>
                  </a:extLst>
                </p:cNvPr>
                <p:cNvSpPr/>
                <p:nvPr/>
              </p:nvSpPr>
              <p:spPr>
                <a:xfrm>
                  <a:off x="4473304" y="2121654"/>
                  <a:ext cx="587780" cy="182684"/>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solidFill>
                        <a:schemeClr val="bg1"/>
                      </a:solidFill>
                      <a:latin typeface="DM Sans" pitchFamily="2" charset="77"/>
                    </a:rPr>
                    <a:t>A/B</a:t>
                  </a:r>
                  <a:r>
                    <a:rPr lang="zh-CN" altLang="en-US">
                      <a:solidFill>
                        <a:schemeClr val="bg1"/>
                      </a:solidFill>
                      <a:latin typeface="DM Sans" pitchFamily="2" charset="77"/>
                    </a:rPr>
                    <a:t> </a:t>
                  </a:r>
                  <a:r>
                    <a:rPr lang="en-US" altLang="zh-CN">
                      <a:solidFill>
                        <a:schemeClr val="bg1"/>
                      </a:solidFill>
                      <a:latin typeface="DM Sans" pitchFamily="2" charset="77"/>
                    </a:rPr>
                    <a:t>Testing</a:t>
                  </a:r>
                  <a:r>
                    <a:rPr lang="zh-CN" altLang="en-US">
                      <a:solidFill>
                        <a:schemeClr val="bg1"/>
                      </a:solidFill>
                      <a:latin typeface="DM Sans" pitchFamily="2" charset="77"/>
                    </a:rPr>
                    <a:t> </a:t>
                  </a:r>
                  <a:r>
                    <a:rPr lang="en-US" altLang="zh-CN">
                      <a:solidFill>
                        <a:schemeClr val="bg1"/>
                      </a:solidFill>
                      <a:latin typeface="DM Sans" pitchFamily="2" charset="77"/>
                    </a:rPr>
                    <a:t>and</a:t>
                  </a:r>
                  <a:r>
                    <a:rPr lang="zh-CN" altLang="en-US">
                      <a:solidFill>
                        <a:schemeClr val="bg1"/>
                      </a:solidFill>
                      <a:latin typeface="DM Sans" pitchFamily="2" charset="77"/>
                    </a:rPr>
                    <a:t> </a:t>
                  </a:r>
                  <a:r>
                    <a:rPr lang="en-US" altLang="zh-CN">
                      <a:solidFill>
                        <a:schemeClr val="bg1"/>
                      </a:solidFill>
                      <a:latin typeface="DM Sans" pitchFamily="2" charset="77"/>
                    </a:rPr>
                    <a:t>Evaluate</a:t>
                  </a:r>
                  <a:r>
                    <a:rPr lang="zh-CN" altLang="en-US">
                      <a:solidFill>
                        <a:schemeClr val="bg1"/>
                      </a:solidFill>
                      <a:latin typeface="DM Sans" pitchFamily="2" charset="77"/>
                    </a:rPr>
                    <a:t> </a:t>
                  </a:r>
                  <a:r>
                    <a:rPr lang="en-US" altLang="zh-CN">
                      <a:solidFill>
                        <a:schemeClr val="bg1"/>
                      </a:solidFill>
                      <a:latin typeface="DM Sans" pitchFamily="2" charset="77"/>
                    </a:rPr>
                    <a:t>Customer</a:t>
                  </a:r>
                  <a:r>
                    <a:rPr lang="zh-CN" altLang="en-US">
                      <a:solidFill>
                        <a:schemeClr val="bg1"/>
                      </a:solidFill>
                      <a:latin typeface="DM Sans" pitchFamily="2" charset="77"/>
                    </a:rPr>
                    <a:t> </a:t>
                  </a:r>
                  <a:r>
                    <a:rPr lang="en-US" altLang="zh-CN">
                      <a:solidFill>
                        <a:schemeClr val="bg1"/>
                      </a:solidFill>
                      <a:latin typeface="DM Sans" pitchFamily="2" charset="77"/>
                    </a:rPr>
                    <a:t>Feedback</a:t>
                  </a:r>
                  <a:endParaRPr>
                    <a:solidFill>
                      <a:schemeClr val="bg1"/>
                    </a:solidFill>
                    <a:latin typeface="DM Sans" pitchFamily="2" charset="77"/>
                  </a:endParaRPr>
                </a:p>
              </p:txBody>
            </p:sp>
          </p:grpSp>
          <p:sp>
            <p:nvSpPr>
              <p:cNvPr id="14" name="Google Shape;3961;p84">
                <a:extLst>
                  <a:ext uri="{FF2B5EF4-FFF2-40B4-BE49-F238E27FC236}">
                    <a16:creationId xmlns:a16="http://schemas.microsoft.com/office/drawing/2014/main" id="{95411A96-5FAC-9F1C-553E-EF7C062C0450}"/>
                  </a:ext>
                </a:extLst>
              </p:cNvPr>
              <p:cNvSpPr/>
              <p:nvPr/>
            </p:nvSpPr>
            <p:spPr>
              <a:xfrm>
                <a:off x="4613643" y="1748223"/>
                <a:ext cx="203808" cy="203293"/>
              </a:xfrm>
              <a:prstGeom prst="ellipse">
                <a:avLst/>
              </a:prstGeom>
              <a:gradFill flip="none" rotWithShape="1">
                <a:gsLst>
                  <a:gs pos="0">
                    <a:schemeClr val="accent2"/>
                  </a:gs>
                  <a:gs pos="27000">
                    <a:schemeClr val="accent2"/>
                  </a:gs>
                  <a:gs pos="100000">
                    <a:schemeClr val="accent2">
                      <a:tint val="23500"/>
                      <a:satMod val="160000"/>
                    </a:schemeClr>
                  </a:gs>
                </a:gsLst>
                <a:path path="circle">
                  <a:fillToRect l="100000" t="100000"/>
                </a:path>
                <a:tileRect r="-100000" b="-100000"/>
              </a:gradFill>
              <a:ln>
                <a:noFill/>
              </a:ln>
            </p:spPr>
            <p:txBody>
              <a:bodyPr spcFirstLastPara="1" wrap="square" lIns="91425" tIns="91425" rIns="91425" bIns="91425" anchor="ctr" anchorCtr="0">
                <a:noAutofit/>
              </a:bodyPr>
              <a:lstStyle/>
              <a:p>
                <a:r>
                  <a:rPr lang="en-US" altLang="zh-CN" sz="1200" b="1">
                    <a:solidFill>
                      <a:schemeClr val="bg1"/>
                    </a:solidFill>
                    <a:latin typeface="DM Sans" pitchFamily="2" charset="77"/>
                  </a:rPr>
                  <a:t>Week</a:t>
                </a:r>
                <a:r>
                  <a:rPr lang="zh-CN" altLang="en-US" sz="1200" b="1">
                    <a:solidFill>
                      <a:schemeClr val="bg1"/>
                    </a:solidFill>
                    <a:latin typeface="DM Sans" pitchFamily="2" charset="77"/>
                  </a:rPr>
                  <a:t> </a:t>
                </a:r>
                <a:r>
                  <a:rPr lang="en-US" altLang="zh-CN" sz="1200" b="1">
                    <a:solidFill>
                      <a:schemeClr val="bg1"/>
                    </a:solidFill>
                    <a:latin typeface="DM Sans" pitchFamily="2" charset="77"/>
                  </a:rPr>
                  <a:t>7-10</a:t>
                </a:r>
                <a:endParaRPr sz="1200" b="1">
                  <a:solidFill>
                    <a:schemeClr val="bg1"/>
                  </a:solidFill>
                  <a:latin typeface="DM Sans" pitchFamily="2" charset="77"/>
                </a:endParaRPr>
              </a:p>
            </p:txBody>
          </p:sp>
        </p:grpSp>
      </p:grpSp>
      <p:grpSp>
        <p:nvGrpSpPr>
          <p:cNvPr id="29" name="Google Shape;1253;p75">
            <a:extLst>
              <a:ext uri="{FF2B5EF4-FFF2-40B4-BE49-F238E27FC236}">
                <a16:creationId xmlns:a16="http://schemas.microsoft.com/office/drawing/2014/main" id="{AF590571-A89A-6CEC-7E33-F11E02840B3E}"/>
              </a:ext>
            </a:extLst>
          </p:cNvPr>
          <p:cNvGrpSpPr/>
          <p:nvPr/>
        </p:nvGrpSpPr>
        <p:grpSpPr>
          <a:xfrm>
            <a:off x="7484183" y="2810527"/>
            <a:ext cx="861978" cy="836249"/>
            <a:chOff x="4016245" y="4108531"/>
            <a:chExt cx="464313" cy="464584"/>
          </a:xfrm>
          <a:solidFill>
            <a:schemeClr val="accent2"/>
          </a:solidFill>
        </p:grpSpPr>
        <p:sp>
          <p:nvSpPr>
            <p:cNvPr id="30" name="Google Shape;1254;p75">
              <a:extLst>
                <a:ext uri="{FF2B5EF4-FFF2-40B4-BE49-F238E27FC236}">
                  <a16:creationId xmlns:a16="http://schemas.microsoft.com/office/drawing/2014/main" id="{B82AADE5-3CBA-4596-3CEA-AD90D445D9EF}"/>
                </a:ext>
              </a:extLst>
            </p:cNvPr>
            <p:cNvSpPr/>
            <p:nvPr/>
          </p:nvSpPr>
          <p:spPr>
            <a:xfrm>
              <a:off x="4153307" y="4108531"/>
              <a:ext cx="190432" cy="190648"/>
            </a:xfrm>
            <a:custGeom>
              <a:avLst/>
              <a:gdLst/>
              <a:ahLst/>
              <a:cxnLst/>
              <a:rect l="l" t="t" r="r" b="b"/>
              <a:pathLst>
                <a:path w="7040" h="7048" extrusionOk="0">
                  <a:moveTo>
                    <a:pt x="500" y="0"/>
                  </a:moveTo>
                  <a:cubicBezTo>
                    <a:pt x="223" y="0"/>
                    <a:pt x="0" y="232"/>
                    <a:pt x="0" y="509"/>
                  </a:cubicBezTo>
                  <a:lnTo>
                    <a:pt x="0" y="6539"/>
                  </a:lnTo>
                  <a:cubicBezTo>
                    <a:pt x="0" y="6816"/>
                    <a:pt x="223" y="7048"/>
                    <a:pt x="500" y="7048"/>
                  </a:cubicBezTo>
                  <a:lnTo>
                    <a:pt x="6531" y="7048"/>
                  </a:lnTo>
                  <a:cubicBezTo>
                    <a:pt x="6816" y="7048"/>
                    <a:pt x="7039" y="6816"/>
                    <a:pt x="7039" y="6539"/>
                  </a:cubicBezTo>
                  <a:lnTo>
                    <a:pt x="7039" y="509"/>
                  </a:lnTo>
                  <a:cubicBezTo>
                    <a:pt x="7039" y="232"/>
                    <a:pt x="6816" y="0"/>
                    <a:pt x="6531" y="0"/>
                  </a:cubicBezTo>
                  <a:lnTo>
                    <a:pt x="5023" y="0"/>
                  </a:lnTo>
                  <a:lnTo>
                    <a:pt x="5023" y="1918"/>
                  </a:lnTo>
                  <a:cubicBezTo>
                    <a:pt x="5023" y="2192"/>
                    <a:pt x="4802" y="2424"/>
                    <a:pt x="4530" y="2424"/>
                  </a:cubicBezTo>
                  <a:cubicBezTo>
                    <a:pt x="4448" y="2424"/>
                    <a:pt x="4361" y="2403"/>
                    <a:pt x="4274" y="2355"/>
                  </a:cubicBezTo>
                  <a:lnTo>
                    <a:pt x="3498" y="1981"/>
                  </a:lnTo>
                  <a:lnTo>
                    <a:pt x="2695" y="2364"/>
                  </a:lnTo>
                  <a:cubicBezTo>
                    <a:pt x="2623" y="2398"/>
                    <a:pt x="2549" y="2414"/>
                    <a:pt x="2477" y="2414"/>
                  </a:cubicBezTo>
                  <a:cubicBezTo>
                    <a:pt x="2210" y="2414"/>
                    <a:pt x="1972" y="2198"/>
                    <a:pt x="1972" y="1909"/>
                  </a:cubicBezTo>
                  <a:lnTo>
                    <a:pt x="197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1" name="Google Shape;1255;p75">
              <a:extLst>
                <a:ext uri="{FF2B5EF4-FFF2-40B4-BE49-F238E27FC236}">
                  <a16:creationId xmlns:a16="http://schemas.microsoft.com/office/drawing/2014/main" id="{37F7C0F3-4664-E680-2B92-DF90CB06A386}"/>
                </a:ext>
              </a:extLst>
            </p:cNvPr>
            <p:cNvSpPr/>
            <p:nvPr/>
          </p:nvSpPr>
          <p:spPr>
            <a:xfrm>
              <a:off x="4233916" y="4108531"/>
              <a:ext cx="28240" cy="30431"/>
            </a:xfrm>
            <a:custGeom>
              <a:avLst/>
              <a:gdLst/>
              <a:ahLst/>
              <a:cxnLst/>
              <a:rect l="l" t="t" r="r" b="b"/>
              <a:pathLst>
                <a:path w="1044" h="1125" extrusionOk="0">
                  <a:moveTo>
                    <a:pt x="0" y="0"/>
                  </a:moveTo>
                  <a:lnTo>
                    <a:pt x="0" y="1115"/>
                  </a:lnTo>
                  <a:lnTo>
                    <a:pt x="303" y="973"/>
                  </a:lnTo>
                  <a:cubicBezTo>
                    <a:pt x="370" y="942"/>
                    <a:pt x="444" y="926"/>
                    <a:pt x="519" y="926"/>
                  </a:cubicBezTo>
                  <a:cubicBezTo>
                    <a:pt x="593" y="926"/>
                    <a:pt x="669" y="942"/>
                    <a:pt x="741" y="973"/>
                  </a:cubicBezTo>
                  <a:lnTo>
                    <a:pt x="1044" y="1124"/>
                  </a:lnTo>
                  <a:lnTo>
                    <a:pt x="1044"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2" name="Google Shape;1256;p75">
              <a:extLst>
                <a:ext uri="{FF2B5EF4-FFF2-40B4-BE49-F238E27FC236}">
                  <a16:creationId xmlns:a16="http://schemas.microsoft.com/office/drawing/2014/main" id="{2C0E8B55-F27D-6489-8156-C7C62EDBB827}"/>
                </a:ext>
              </a:extLst>
            </p:cNvPr>
            <p:cNvSpPr/>
            <p:nvPr/>
          </p:nvSpPr>
          <p:spPr>
            <a:xfrm>
              <a:off x="4331161" y="4231149"/>
              <a:ext cx="149397" cy="261087"/>
            </a:xfrm>
            <a:custGeom>
              <a:avLst/>
              <a:gdLst/>
              <a:ahLst/>
              <a:cxnLst/>
              <a:rect l="l" t="t" r="r" b="b"/>
              <a:pathLst>
                <a:path w="5523" h="9652" extrusionOk="0">
                  <a:moveTo>
                    <a:pt x="4362" y="0"/>
                  </a:moveTo>
                  <a:cubicBezTo>
                    <a:pt x="3726" y="0"/>
                    <a:pt x="3212" y="525"/>
                    <a:pt x="3212" y="1159"/>
                  </a:cubicBezTo>
                  <a:lnTo>
                    <a:pt x="3212" y="5138"/>
                  </a:lnTo>
                  <a:cubicBezTo>
                    <a:pt x="3051" y="4879"/>
                    <a:pt x="2810" y="4710"/>
                    <a:pt x="2525" y="4638"/>
                  </a:cubicBezTo>
                  <a:cubicBezTo>
                    <a:pt x="2427" y="4613"/>
                    <a:pt x="2329" y="4600"/>
                    <a:pt x="2232" y="4600"/>
                  </a:cubicBezTo>
                  <a:cubicBezTo>
                    <a:pt x="1722" y="4600"/>
                    <a:pt x="1259" y="4941"/>
                    <a:pt x="1124" y="5459"/>
                  </a:cubicBezTo>
                  <a:lnTo>
                    <a:pt x="0" y="9652"/>
                  </a:lnTo>
                  <a:lnTo>
                    <a:pt x="4773" y="9652"/>
                  </a:lnTo>
                  <a:lnTo>
                    <a:pt x="5487" y="6993"/>
                  </a:lnTo>
                  <a:cubicBezTo>
                    <a:pt x="5513" y="6886"/>
                    <a:pt x="5522" y="6788"/>
                    <a:pt x="5522" y="6690"/>
                  </a:cubicBezTo>
                  <a:lnTo>
                    <a:pt x="5522" y="1177"/>
                  </a:lnTo>
                  <a:cubicBezTo>
                    <a:pt x="5522" y="606"/>
                    <a:pt x="5067" y="71"/>
                    <a:pt x="4496" y="8"/>
                  </a:cubicBezTo>
                  <a:cubicBezTo>
                    <a:pt x="4451" y="3"/>
                    <a:pt x="4406" y="0"/>
                    <a:pt x="43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3" name="Google Shape;1257;p75">
              <a:extLst>
                <a:ext uri="{FF2B5EF4-FFF2-40B4-BE49-F238E27FC236}">
                  <a16:creationId xmlns:a16="http://schemas.microsoft.com/office/drawing/2014/main" id="{427BD585-C34F-A13C-A681-227437420669}"/>
                </a:ext>
              </a:extLst>
            </p:cNvPr>
            <p:cNvSpPr/>
            <p:nvPr/>
          </p:nvSpPr>
          <p:spPr>
            <a:xfrm>
              <a:off x="4282904" y="4519475"/>
              <a:ext cx="197654" cy="53613"/>
            </a:xfrm>
            <a:custGeom>
              <a:avLst/>
              <a:gdLst/>
              <a:ahLst/>
              <a:cxnLst/>
              <a:rect l="l" t="t" r="r" b="b"/>
              <a:pathLst>
                <a:path w="7307" h="1982" extrusionOk="0">
                  <a:moveTo>
                    <a:pt x="500" y="1"/>
                  </a:moveTo>
                  <a:cubicBezTo>
                    <a:pt x="223" y="1"/>
                    <a:pt x="0" y="224"/>
                    <a:pt x="0" y="500"/>
                  </a:cubicBezTo>
                  <a:lnTo>
                    <a:pt x="0" y="1473"/>
                  </a:lnTo>
                  <a:cubicBezTo>
                    <a:pt x="0" y="1758"/>
                    <a:pt x="232" y="1981"/>
                    <a:pt x="509" y="1981"/>
                  </a:cubicBezTo>
                  <a:lnTo>
                    <a:pt x="6771" y="1972"/>
                  </a:lnTo>
                  <a:cubicBezTo>
                    <a:pt x="6787" y="1974"/>
                    <a:pt x="6802" y="1974"/>
                    <a:pt x="6817" y="1974"/>
                  </a:cubicBezTo>
                  <a:cubicBezTo>
                    <a:pt x="7090" y="1974"/>
                    <a:pt x="7306" y="1752"/>
                    <a:pt x="7306" y="1473"/>
                  </a:cubicBezTo>
                  <a:lnTo>
                    <a:pt x="7306" y="500"/>
                  </a:lnTo>
                  <a:cubicBezTo>
                    <a:pt x="7306" y="224"/>
                    <a:pt x="7083" y="1"/>
                    <a:pt x="680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4" name="Google Shape;1258;p75">
              <a:extLst>
                <a:ext uri="{FF2B5EF4-FFF2-40B4-BE49-F238E27FC236}">
                  <a16:creationId xmlns:a16="http://schemas.microsoft.com/office/drawing/2014/main" id="{6236DA8E-7056-9C11-795A-4B51EB04A2EA}"/>
                </a:ext>
              </a:extLst>
            </p:cNvPr>
            <p:cNvSpPr/>
            <p:nvPr/>
          </p:nvSpPr>
          <p:spPr>
            <a:xfrm>
              <a:off x="4016245" y="4519475"/>
              <a:ext cx="197654" cy="53640"/>
            </a:xfrm>
            <a:custGeom>
              <a:avLst/>
              <a:gdLst/>
              <a:ahLst/>
              <a:cxnLst/>
              <a:rect l="l" t="t" r="r" b="b"/>
              <a:pathLst>
                <a:path w="7307" h="1983" extrusionOk="0">
                  <a:moveTo>
                    <a:pt x="509" y="1"/>
                  </a:moveTo>
                  <a:cubicBezTo>
                    <a:pt x="223" y="1"/>
                    <a:pt x="0" y="224"/>
                    <a:pt x="0" y="500"/>
                  </a:cubicBezTo>
                  <a:lnTo>
                    <a:pt x="0" y="1473"/>
                  </a:lnTo>
                  <a:cubicBezTo>
                    <a:pt x="0" y="1757"/>
                    <a:pt x="216" y="1982"/>
                    <a:pt x="487" y="1982"/>
                  </a:cubicBezTo>
                  <a:cubicBezTo>
                    <a:pt x="497" y="1982"/>
                    <a:pt x="507" y="1982"/>
                    <a:pt x="518" y="1981"/>
                  </a:cubicBezTo>
                  <a:lnTo>
                    <a:pt x="6807" y="1981"/>
                  </a:lnTo>
                  <a:cubicBezTo>
                    <a:pt x="7084" y="1981"/>
                    <a:pt x="7307" y="1758"/>
                    <a:pt x="7307" y="1473"/>
                  </a:cubicBezTo>
                  <a:lnTo>
                    <a:pt x="7307" y="500"/>
                  </a:lnTo>
                  <a:cubicBezTo>
                    <a:pt x="7307" y="224"/>
                    <a:pt x="7084" y="1"/>
                    <a:pt x="680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5" name="Google Shape;1259;p75">
              <a:extLst>
                <a:ext uri="{FF2B5EF4-FFF2-40B4-BE49-F238E27FC236}">
                  <a16:creationId xmlns:a16="http://schemas.microsoft.com/office/drawing/2014/main" id="{44B12B27-5342-00B6-E42F-991372F1F16B}"/>
                </a:ext>
              </a:extLst>
            </p:cNvPr>
            <p:cNvSpPr/>
            <p:nvPr/>
          </p:nvSpPr>
          <p:spPr>
            <a:xfrm>
              <a:off x="4016245" y="4231149"/>
              <a:ext cx="149641" cy="261087"/>
            </a:xfrm>
            <a:custGeom>
              <a:avLst/>
              <a:gdLst/>
              <a:ahLst/>
              <a:cxnLst/>
              <a:rect l="l" t="t" r="r" b="b"/>
              <a:pathLst>
                <a:path w="5532" h="9652" extrusionOk="0">
                  <a:moveTo>
                    <a:pt x="1151" y="0"/>
                  </a:moveTo>
                  <a:cubicBezTo>
                    <a:pt x="515" y="0"/>
                    <a:pt x="0" y="525"/>
                    <a:pt x="0" y="1159"/>
                  </a:cubicBezTo>
                  <a:lnTo>
                    <a:pt x="0" y="6690"/>
                  </a:lnTo>
                  <a:cubicBezTo>
                    <a:pt x="0" y="6788"/>
                    <a:pt x="18" y="6886"/>
                    <a:pt x="45" y="6993"/>
                  </a:cubicBezTo>
                  <a:lnTo>
                    <a:pt x="759" y="9652"/>
                  </a:lnTo>
                  <a:lnTo>
                    <a:pt x="5531" y="9652"/>
                  </a:lnTo>
                  <a:lnTo>
                    <a:pt x="4407" y="5459"/>
                  </a:lnTo>
                  <a:cubicBezTo>
                    <a:pt x="4265" y="4941"/>
                    <a:pt x="3794" y="4600"/>
                    <a:pt x="3282" y="4600"/>
                  </a:cubicBezTo>
                  <a:cubicBezTo>
                    <a:pt x="3185" y="4600"/>
                    <a:pt x="3087" y="4613"/>
                    <a:pt x="2989" y="4638"/>
                  </a:cubicBezTo>
                  <a:cubicBezTo>
                    <a:pt x="2712" y="4710"/>
                    <a:pt x="2471" y="4888"/>
                    <a:pt x="2320" y="5138"/>
                  </a:cubicBezTo>
                  <a:lnTo>
                    <a:pt x="2320" y="1177"/>
                  </a:lnTo>
                  <a:cubicBezTo>
                    <a:pt x="2320" y="606"/>
                    <a:pt x="1856" y="71"/>
                    <a:pt x="1285" y="8"/>
                  </a:cubicBezTo>
                  <a:cubicBezTo>
                    <a:pt x="1240" y="3"/>
                    <a:pt x="1195" y="0"/>
                    <a:pt x="115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sp>
        <p:nvSpPr>
          <p:cNvPr id="36" name="TextBox 35">
            <a:extLst>
              <a:ext uri="{FF2B5EF4-FFF2-40B4-BE49-F238E27FC236}">
                <a16:creationId xmlns:a16="http://schemas.microsoft.com/office/drawing/2014/main" id="{DD54D1C0-9C48-B409-6CA3-C007DCC3FC9A}"/>
              </a:ext>
            </a:extLst>
          </p:cNvPr>
          <p:cNvSpPr txBox="1"/>
          <p:nvPr/>
        </p:nvSpPr>
        <p:spPr>
          <a:xfrm>
            <a:off x="6874375" y="1873597"/>
            <a:ext cx="1953490" cy="738664"/>
          </a:xfrm>
          <a:prstGeom prst="rect">
            <a:avLst/>
          </a:prstGeom>
          <a:noFill/>
        </p:spPr>
        <p:txBody>
          <a:bodyPr wrap="square" rtlCol="0">
            <a:spAutoFit/>
          </a:bodyPr>
          <a:lstStyle/>
          <a:p>
            <a:pPr algn="ctr"/>
            <a:r>
              <a:rPr lang="en-US" altLang="zh-CN" b="1">
                <a:solidFill>
                  <a:schemeClr val="bg1"/>
                </a:solidFill>
                <a:latin typeface="DM Sans" pitchFamily="2" charset="77"/>
              </a:rPr>
              <a:t>Deliver</a:t>
            </a:r>
            <a:r>
              <a:rPr lang="zh-CN" altLang="en-US" b="1">
                <a:solidFill>
                  <a:schemeClr val="bg1"/>
                </a:solidFill>
                <a:latin typeface="DM Sans" pitchFamily="2" charset="77"/>
              </a:rPr>
              <a:t> </a:t>
            </a:r>
            <a:r>
              <a:rPr lang="en-US" altLang="zh-CN" b="1">
                <a:solidFill>
                  <a:schemeClr val="bg1"/>
                </a:solidFill>
                <a:latin typeface="DM Sans" pitchFamily="2" charset="77"/>
              </a:rPr>
              <a:t>Recommendation</a:t>
            </a:r>
            <a:r>
              <a:rPr lang="zh-CN" altLang="en-US" b="1">
                <a:solidFill>
                  <a:schemeClr val="bg1"/>
                </a:solidFill>
                <a:latin typeface="DM Sans" pitchFamily="2" charset="77"/>
              </a:rPr>
              <a:t> </a:t>
            </a:r>
            <a:r>
              <a:rPr lang="en-US" altLang="zh-CN" b="1">
                <a:solidFill>
                  <a:schemeClr val="bg1"/>
                </a:solidFill>
                <a:latin typeface="DM Sans" pitchFamily="2" charset="77"/>
              </a:rPr>
              <a:t>Engine</a:t>
            </a:r>
            <a:endParaRPr lang="en-US" b="1">
              <a:solidFill>
                <a:schemeClr val="bg1"/>
              </a:solidFill>
              <a:latin typeface="DM Sans" pitchFamily="2" charset="77"/>
            </a:endParaRPr>
          </a:p>
        </p:txBody>
      </p:sp>
      <p:sp>
        <p:nvSpPr>
          <p:cNvPr id="37" name="Oval 36">
            <a:extLst>
              <a:ext uri="{FF2B5EF4-FFF2-40B4-BE49-F238E27FC236}">
                <a16:creationId xmlns:a16="http://schemas.microsoft.com/office/drawing/2014/main" id="{B9098490-0A7D-EA50-997F-042CE2289B4C}"/>
              </a:ext>
            </a:extLst>
          </p:cNvPr>
          <p:cNvSpPr/>
          <p:nvPr/>
        </p:nvSpPr>
        <p:spPr>
          <a:xfrm>
            <a:off x="7623084" y="3834529"/>
            <a:ext cx="723077" cy="621093"/>
          </a:xfrm>
          <a:prstGeom prst="ellipse">
            <a:avLst/>
          </a:prstGeom>
          <a:noFill/>
          <a:ln w="222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
        <p:nvSpPr>
          <p:cNvPr id="38" name="TextBox 37">
            <a:extLst>
              <a:ext uri="{FF2B5EF4-FFF2-40B4-BE49-F238E27FC236}">
                <a16:creationId xmlns:a16="http://schemas.microsoft.com/office/drawing/2014/main" id="{7C400913-D6C0-B325-320E-E8900D615D00}"/>
              </a:ext>
            </a:extLst>
          </p:cNvPr>
          <p:cNvSpPr txBox="1"/>
          <p:nvPr/>
        </p:nvSpPr>
        <p:spPr>
          <a:xfrm>
            <a:off x="7623084" y="3991186"/>
            <a:ext cx="734496" cy="307777"/>
          </a:xfrm>
          <a:prstGeom prst="rect">
            <a:avLst/>
          </a:prstGeom>
          <a:noFill/>
        </p:spPr>
        <p:txBody>
          <a:bodyPr wrap="none" rtlCol="0">
            <a:spAutoFit/>
          </a:bodyPr>
          <a:lstStyle/>
          <a:p>
            <a:r>
              <a:rPr lang="en-US" altLang="zh-CN" b="1">
                <a:solidFill>
                  <a:schemeClr val="bg1"/>
                </a:solidFill>
                <a:latin typeface="DM Sans" pitchFamily="2" charset="77"/>
              </a:rPr>
              <a:t>March</a:t>
            </a:r>
            <a:endParaRPr lang="en-US" b="1">
              <a:solidFill>
                <a:schemeClr val="bg1"/>
              </a:solidFill>
              <a:latin typeface="DM Sans" pitchFamily="2" charset="77"/>
            </a:endParaRPr>
          </a:p>
        </p:txBody>
      </p:sp>
      <p:sp>
        <p:nvSpPr>
          <p:cNvPr id="39" name="TextBox 38">
            <a:extLst>
              <a:ext uri="{FF2B5EF4-FFF2-40B4-BE49-F238E27FC236}">
                <a16:creationId xmlns:a16="http://schemas.microsoft.com/office/drawing/2014/main" id="{53388141-E320-E0B4-63F3-B410F5520629}"/>
              </a:ext>
            </a:extLst>
          </p:cNvPr>
          <p:cNvSpPr txBox="1"/>
          <p:nvPr/>
        </p:nvSpPr>
        <p:spPr>
          <a:xfrm>
            <a:off x="385944" y="166805"/>
            <a:ext cx="3443399" cy="584775"/>
          </a:xfrm>
          <a:prstGeom prst="rect">
            <a:avLst/>
          </a:prstGeom>
          <a:noFill/>
        </p:spPr>
        <p:txBody>
          <a:bodyPr wrap="square" rtlCol="0">
            <a:spAutoFit/>
          </a:bodyPr>
          <a:lstStyle/>
          <a:p>
            <a:r>
              <a:rPr lang="en-US" altLang="zh-CN" sz="3200" b="1">
                <a:solidFill>
                  <a:schemeClr val="bg1"/>
                </a:solidFill>
                <a:latin typeface="DM Sans" pitchFamily="2" charset="77"/>
              </a:rPr>
              <a:t>Preliminary</a:t>
            </a:r>
            <a:r>
              <a:rPr lang="zh-CN" altLang="en-US"/>
              <a:t> </a:t>
            </a:r>
            <a:r>
              <a:rPr lang="en-US" altLang="zh-CN" sz="3200" b="1">
                <a:solidFill>
                  <a:schemeClr val="bg1"/>
                </a:solidFill>
                <a:latin typeface="DM Sans" pitchFamily="2" charset="77"/>
              </a:rPr>
              <a:t>Plan</a:t>
            </a:r>
            <a:endParaRPr lang="en-US" sz="3200" b="1">
              <a:solidFill>
                <a:schemeClr val="bg1"/>
              </a:solidFill>
              <a:latin typeface="DM Sans" pitchFamily="2" charset="77"/>
            </a:endParaRPr>
          </a:p>
        </p:txBody>
      </p:sp>
      <p:sp>
        <p:nvSpPr>
          <p:cNvPr id="3" name="文本框 2">
            <a:extLst>
              <a:ext uri="{FF2B5EF4-FFF2-40B4-BE49-F238E27FC236}">
                <a16:creationId xmlns:a16="http://schemas.microsoft.com/office/drawing/2014/main" id="{EEB81335-055A-B94E-A7B2-62D850363D9E}"/>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8</a:t>
            </a:r>
          </a:p>
        </p:txBody>
      </p:sp>
    </p:spTree>
    <p:extLst>
      <p:ext uri="{BB962C8B-B14F-4D97-AF65-F5344CB8AC3E}">
        <p14:creationId xmlns:p14="http://schemas.microsoft.com/office/powerpoint/2010/main" val="3919526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E13A1B2-4812-497E-2209-31C4BC0719BF}"/>
              </a:ext>
            </a:extLst>
          </p:cNvPr>
          <p:cNvSpPr txBox="1"/>
          <p:nvPr/>
        </p:nvSpPr>
        <p:spPr>
          <a:xfrm>
            <a:off x="507076" y="266007"/>
            <a:ext cx="7390015" cy="584775"/>
          </a:xfrm>
          <a:prstGeom prst="rect">
            <a:avLst/>
          </a:prstGeom>
          <a:noFill/>
        </p:spPr>
        <p:txBody>
          <a:bodyPr wrap="square" rtlCol="0">
            <a:spAutoFit/>
          </a:bodyPr>
          <a:lstStyle/>
          <a:p>
            <a:r>
              <a:rPr lang="en-US" sz="3200" b="1">
                <a:solidFill>
                  <a:schemeClr val="bg1"/>
                </a:solidFill>
                <a:latin typeface="DM Sans" pitchFamily="2" charset="77"/>
              </a:rPr>
              <a:t>Future</a:t>
            </a:r>
            <a:r>
              <a:rPr lang="zh-CN" altLang="en-US" sz="3200" b="1">
                <a:solidFill>
                  <a:schemeClr val="bg1"/>
                </a:solidFill>
                <a:latin typeface="DM Sans" pitchFamily="2" charset="77"/>
              </a:rPr>
              <a:t> </a:t>
            </a:r>
            <a:r>
              <a:rPr lang="en-US" altLang="zh-CN" sz="3200" b="1">
                <a:solidFill>
                  <a:schemeClr val="bg1"/>
                </a:solidFill>
                <a:latin typeface="DM Sans" pitchFamily="2" charset="77"/>
              </a:rPr>
              <a:t>Work</a:t>
            </a:r>
            <a:r>
              <a:rPr lang="zh-CN" altLang="en-US" sz="3200" b="1">
                <a:solidFill>
                  <a:schemeClr val="bg1"/>
                </a:solidFill>
                <a:latin typeface="DM Sans" pitchFamily="2" charset="77"/>
              </a:rPr>
              <a:t> </a:t>
            </a:r>
            <a:r>
              <a:rPr lang="en-US" altLang="zh-CN" sz="3200" b="1">
                <a:solidFill>
                  <a:schemeClr val="bg1"/>
                </a:solidFill>
                <a:latin typeface="DM Sans" pitchFamily="2" charset="77"/>
              </a:rPr>
              <a:t>&amp;</a:t>
            </a:r>
            <a:r>
              <a:rPr lang="zh-CN" altLang="en-US" sz="3200" b="1">
                <a:solidFill>
                  <a:schemeClr val="bg1"/>
                </a:solidFill>
                <a:latin typeface="DM Sans" pitchFamily="2" charset="77"/>
              </a:rPr>
              <a:t> </a:t>
            </a:r>
            <a:r>
              <a:rPr lang="en-US" altLang="zh-CN" sz="3200" b="1">
                <a:solidFill>
                  <a:schemeClr val="bg1"/>
                </a:solidFill>
                <a:latin typeface="DM Sans" pitchFamily="2" charset="77"/>
              </a:rPr>
              <a:t>Lessons</a:t>
            </a:r>
            <a:r>
              <a:rPr lang="zh-CN" altLang="en-US" sz="3200" b="1">
                <a:solidFill>
                  <a:schemeClr val="bg1"/>
                </a:solidFill>
                <a:latin typeface="DM Sans" pitchFamily="2" charset="77"/>
              </a:rPr>
              <a:t> </a:t>
            </a:r>
            <a:r>
              <a:rPr lang="en-US" altLang="zh-CN" sz="3200" b="1">
                <a:solidFill>
                  <a:schemeClr val="bg1"/>
                </a:solidFill>
                <a:latin typeface="DM Sans" pitchFamily="2" charset="77"/>
              </a:rPr>
              <a:t>Learned</a:t>
            </a:r>
            <a:endParaRPr lang="en-US" sz="3200" b="1">
              <a:solidFill>
                <a:schemeClr val="bg1"/>
              </a:solidFill>
              <a:latin typeface="DM Sans" pitchFamily="2" charset="77"/>
            </a:endParaRPr>
          </a:p>
        </p:txBody>
      </p:sp>
      <p:sp>
        <p:nvSpPr>
          <p:cNvPr id="7" name="TextBox 6">
            <a:extLst>
              <a:ext uri="{FF2B5EF4-FFF2-40B4-BE49-F238E27FC236}">
                <a16:creationId xmlns:a16="http://schemas.microsoft.com/office/drawing/2014/main" id="{E809E35E-5CB0-FA81-87CA-6051C8E1716C}"/>
              </a:ext>
            </a:extLst>
          </p:cNvPr>
          <p:cNvSpPr txBox="1"/>
          <p:nvPr/>
        </p:nvSpPr>
        <p:spPr>
          <a:xfrm>
            <a:off x="689955" y="947651"/>
            <a:ext cx="6517179" cy="2893100"/>
          </a:xfrm>
          <a:prstGeom prst="rect">
            <a:avLst/>
          </a:prstGeom>
          <a:noFill/>
        </p:spPr>
        <p:txBody>
          <a:bodyPr wrap="square" rtlCol="0">
            <a:spAutoFit/>
          </a:bodyPr>
          <a:lstStyle/>
          <a:p>
            <a:pPr marL="285750" indent="-285750">
              <a:buClr>
                <a:schemeClr val="bg1"/>
              </a:buClr>
              <a:buFont typeface="Wingdings" pitchFamily="2" charset="2"/>
              <a:buChar char="§"/>
            </a:pPr>
            <a:r>
              <a:rPr lang="en-US" altLang="zh-CN">
                <a:solidFill>
                  <a:schemeClr val="bg1"/>
                </a:solidFill>
                <a:latin typeface="DM Sans" pitchFamily="2" charset="77"/>
              </a:rPr>
              <a:t>The</a:t>
            </a:r>
            <a:r>
              <a:rPr lang="zh-CN" altLang="en-US">
                <a:solidFill>
                  <a:schemeClr val="bg1"/>
                </a:solidFill>
                <a:latin typeface="DM Sans" pitchFamily="2" charset="77"/>
              </a:rPr>
              <a:t> </a:t>
            </a:r>
            <a:r>
              <a:rPr lang="en-US" altLang="zh-CN">
                <a:solidFill>
                  <a:schemeClr val="bg1"/>
                </a:solidFill>
                <a:latin typeface="DM Sans" pitchFamily="2" charset="77"/>
              </a:rPr>
              <a:t>customer</a:t>
            </a:r>
            <a:r>
              <a:rPr lang="zh-CN" altLang="en-US">
                <a:solidFill>
                  <a:schemeClr val="bg1"/>
                </a:solidFill>
                <a:latin typeface="DM Sans" pitchFamily="2" charset="77"/>
              </a:rPr>
              <a:t> </a:t>
            </a:r>
            <a:r>
              <a:rPr lang="en-US" altLang="zh-CN">
                <a:solidFill>
                  <a:schemeClr val="bg1"/>
                </a:solidFill>
                <a:latin typeface="DM Sans" pitchFamily="2" charset="77"/>
              </a:rPr>
              <a:t>segmentation</a:t>
            </a:r>
            <a:r>
              <a:rPr lang="zh-CN" altLang="en-US">
                <a:solidFill>
                  <a:schemeClr val="bg1"/>
                </a:solidFill>
                <a:latin typeface="DM Sans" pitchFamily="2" charset="77"/>
              </a:rPr>
              <a:t> </a:t>
            </a:r>
            <a:r>
              <a:rPr lang="en-US" altLang="zh-CN">
                <a:solidFill>
                  <a:schemeClr val="bg1"/>
                </a:solidFill>
                <a:latin typeface="DM Sans" pitchFamily="2" charset="77"/>
              </a:rPr>
              <a:t>can</a:t>
            </a:r>
            <a:r>
              <a:rPr lang="zh-CN" altLang="en-US">
                <a:solidFill>
                  <a:schemeClr val="bg1"/>
                </a:solidFill>
                <a:latin typeface="DM Sans" pitchFamily="2" charset="77"/>
              </a:rPr>
              <a:t> </a:t>
            </a:r>
            <a:r>
              <a:rPr lang="en-US" altLang="zh-CN">
                <a:solidFill>
                  <a:schemeClr val="bg1"/>
                </a:solidFill>
                <a:latin typeface="DM Sans" pitchFamily="2" charset="77"/>
              </a:rPr>
              <a:t>be</a:t>
            </a:r>
            <a:r>
              <a:rPr lang="zh-CN" altLang="en-US">
                <a:solidFill>
                  <a:schemeClr val="bg1"/>
                </a:solidFill>
                <a:latin typeface="DM Sans" pitchFamily="2" charset="77"/>
              </a:rPr>
              <a:t> </a:t>
            </a:r>
            <a:r>
              <a:rPr lang="en-US" altLang="zh-CN">
                <a:solidFill>
                  <a:schemeClr val="bg1"/>
                </a:solidFill>
                <a:latin typeface="DM Sans" pitchFamily="2" charset="77"/>
              </a:rPr>
              <a:t>more</a:t>
            </a:r>
            <a:r>
              <a:rPr lang="zh-CN" altLang="en-US">
                <a:solidFill>
                  <a:schemeClr val="bg1"/>
                </a:solidFill>
                <a:latin typeface="DM Sans" pitchFamily="2" charset="77"/>
              </a:rPr>
              <a:t> </a:t>
            </a:r>
            <a:r>
              <a:rPr lang="en-US" altLang="zh-CN">
                <a:solidFill>
                  <a:schemeClr val="bg1"/>
                </a:solidFill>
                <a:latin typeface="DM Sans" pitchFamily="2" charset="77"/>
              </a:rPr>
              <a:t>accurate</a:t>
            </a:r>
            <a:r>
              <a:rPr lang="zh-CN" altLang="en-US">
                <a:solidFill>
                  <a:schemeClr val="bg1"/>
                </a:solidFill>
                <a:latin typeface="DM Sans" pitchFamily="2" charset="77"/>
              </a:rPr>
              <a:t> </a:t>
            </a:r>
            <a:r>
              <a:rPr lang="en-US" altLang="zh-CN">
                <a:solidFill>
                  <a:schemeClr val="bg1"/>
                </a:solidFill>
                <a:latin typeface="DM Sans" pitchFamily="2" charset="77"/>
              </a:rPr>
              <a:t>with</a:t>
            </a:r>
            <a:r>
              <a:rPr lang="zh-CN" altLang="en-US">
                <a:solidFill>
                  <a:schemeClr val="bg1"/>
                </a:solidFill>
                <a:latin typeface="DM Sans" pitchFamily="2" charset="77"/>
              </a:rPr>
              <a:t> </a:t>
            </a:r>
            <a:r>
              <a:rPr lang="en-US" altLang="zh-CN">
                <a:solidFill>
                  <a:schemeClr val="bg1"/>
                </a:solidFill>
                <a:latin typeface="DM Sans" pitchFamily="2" charset="77"/>
              </a:rPr>
              <a:t>additional</a:t>
            </a:r>
            <a:r>
              <a:rPr lang="zh-CN" altLang="en-US">
                <a:solidFill>
                  <a:schemeClr val="bg1"/>
                </a:solidFill>
                <a:latin typeface="DM Sans" pitchFamily="2" charset="77"/>
              </a:rPr>
              <a:t> </a:t>
            </a:r>
            <a:r>
              <a:rPr lang="en-US" altLang="zh-CN">
                <a:solidFill>
                  <a:schemeClr val="bg1"/>
                </a:solidFill>
                <a:latin typeface="DM Sans" pitchFamily="2" charset="77"/>
              </a:rPr>
              <a:t>data</a:t>
            </a:r>
            <a:r>
              <a:rPr lang="zh-CN" altLang="en-US">
                <a:solidFill>
                  <a:schemeClr val="bg1"/>
                </a:solidFill>
                <a:latin typeface="DM Sans" pitchFamily="2" charset="77"/>
              </a:rPr>
              <a:t> </a:t>
            </a:r>
            <a:r>
              <a:rPr lang="en-US" altLang="zh-CN">
                <a:solidFill>
                  <a:schemeClr val="bg1"/>
                </a:solidFill>
                <a:latin typeface="DM Sans" pitchFamily="2" charset="77"/>
              </a:rPr>
              <a:t>on</a:t>
            </a:r>
            <a:r>
              <a:rPr lang="zh-CN" altLang="en-US">
                <a:solidFill>
                  <a:schemeClr val="bg1"/>
                </a:solidFill>
                <a:latin typeface="DM Sans" pitchFamily="2" charset="77"/>
              </a:rPr>
              <a:t> </a:t>
            </a:r>
            <a:r>
              <a:rPr lang="en-US" altLang="zh-CN">
                <a:solidFill>
                  <a:schemeClr val="bg1"/>
                </a:solidFill>
                <a:latin typeface="DM Sans" pitchFamily="2" charset="77"/>
              </a:rPr>
              <a:t>customer</a:t>
            </a:r>
            <a:r>
              <a:rPr lang="zh-CN" altLang="en-US">
                <a:solidFill>
                  <a:schemeClr val="bg1"/>
                </a:solidFill>
                <a:latin typeface="DM Sans" pitchFamily="2" charset="77"/>
              </a:rPr>
              <a:t> </a:t>
            </a:r>
            <a:r>
              <a:rPr lang="en-US" altLang="zh-CN">
                <a:solidFill>
                  <a:schemeClr val="bg1"/>
                </a:solidFill>
                <a:latin typeface="DM Sans" pitchFamily="2" charset="77"/>
              </a:rPr>
              <a:t>demographics,</a:t>
            </a:r>
            <a:r>
              <a:rPr lang="zh-CN" altLang="en-US">
                <a:solidFill>
                  <a:schemeClr val="bg1"/>
                </a:solidFill>
                <a:latin typeface="DM Sans" pitchFamily="2" charset="77"/>
              </a:rPr>
              <a:t> </a:t>
            </a:r>
            <a:r>
              <a:rPr lang="en-US" altLang="zh-CN">
                <a:solidFill>
                  <a:schemeClr val="bg1"/>
                </a:solidFill>
                <a:latin typeface="DM Sans" pitchFamily="2" charset="77"/>
              </a:rPr>
              <a:t>e.g.,</a:t>
            </a:r>
            <a:r>
              <a:rPr lang="zh-CN" altLang="en-US">
                <a:solidFill>
                  <a:schemeClr val="bg1"/>
                </a:solidFill>
                <a:latin typeface="DM Sans" pitchFamily="2" charset="77"/>
              </a:rPr>
              <a:t> </a:t>
            </a:r>
            <a:r>
              <a:rPr lang="en-US" altLang="zh-CN">
                <a:solidFill>
                  <a:schemeClr val="bg1"/>
                </a:solidFill>
                <a:latin typeface="DM Sans" pitchFamily="2" charset="77"/>
              </a:rPr>
              <a:t>age,</a:t>
            </a:r>
            <a:r>
              <a:rPr lang="zh-CN" altLang="en-US">
                <a:solidFill>
                  <a:schemeClr val="bg1"/>
                </a:solidFill>
                <a:latin typeface="DM Sans" pitchFamily="2" charset="77"/>
              </a:rPr>
              <a:t> </a:t>
            </a:r>
            <a:r>
              <a:rPr lang="en-US" altLang="zh-CN">
                <a:solidFill>
                  <a:schemeClr val="bg1"/>
                </a:solidFill>
                <a:latin typeface="DM Sans" pitchFamily="2" charset="77"/>
              </a:rPr>
              <a:t>race,</a:t>
            </a:r>
            <a:r>
              <a:rPr lang="zh-CN" altLang="en-US">
                <a:solidFill>
                  <a:schemeClr val="bg1"/>
                </a:solidFill>
                <a:latin typeface="DM Sans" pitchFamily="2" charset="77"/>
              </a:rPr>
              <a:t> </a:t>
            </a:r>
            <a:r>
              <a:rPr lang="en-US" altLang="zh-CN">
                <a:solidFill>
                  <a:schemeClr val="bg1"/>
                </a:solidFill>
                <a:latin typeface="DM Sans" pitchFamily="2" charset="77"/>
              </a:rPr>
              <a:t>sex,</a:t>
            </a:r>
            <a:r>
              <a:rPr lang="zh-CN" altLang="en-US">
                <a:solidFill>
                  <a:schemeClr val="bg1"/>
                </a:solidFill>
                <a:latin typeface="DM Sans" pitchFamily="2" charset="77"/>
              </a:rPr>
              <a:t> </a:t>
            </a:r>
            <a:r>
              <a:rPr lang="en-US" altLang="zh-CN">
                <a:solidFill>
                  <a:schemeClr val="bg1"/>
                </a:solidFill>
                <a:latin typeface="DM Sans" pitchFamily="2" charset="77"/>
              </a:rPr>
              <a:t>income</a:t>
            </a:r>
            <a:r>
              <a:rPr lang="zh-CN" altLang="en-US">
                <a:solidFill>
                  <a:schemeClr val="bg1"/>
                </a:solidFill>
                <a:latin typeface="DM Sans" pitchFamily="2" charset="77"/>
              </a:rPr>
              <a:t> </a:t>
            </a:r>
            <a:r>
              <a:rPr lang="en-US" altLang="zh-CN">
                <a:solidFill>
                  <a:schemeClr val="bg1"/>
                </a:solidFill>
                <a:latin typeface="DM Sans" pitchFamily="2" charset="77"/>
              </a:rPr>
              <a:t>level,</a:t>
            </a:r>
            <a:r>
              <a:rPr lang="zh-CN" altLang="en-US">
                <a:solidFill>
                  <a:schemeClr val="bg1"/>
                </a:solidFill>
                <a:latin typeface="DM Sans" pitchFamily="2" charset="77"/>
              </a:rPr>
              <a:t> </a:t>
            </a:r>
            <a:r>
              <a:rPr lang="en-US" altLang="zh-CN">
                <a:solidFill>
                  <a:schemeClr val="bg1"/>
                </a:solidFill>
                <a:latin typeface="DM Sans" pitchFamily="2" charset="77"/>
              </a:rPr>
              <a:t>etc..</a:t>
            </a:r>
          </a:p>
          <a:p>
            <a:pPr marL="285750" indent="-285750">
              <a:buClr>
                <a:schemeClr val="bg1"/>
              </a:buClr>
              <a:buFont typeface="Wingdings" pitchFamily="2" charset="2"/>
              <a:buChar char="§"/>
            </a:pPr>
            <a:endParaRPr lang="en-US" altLang="zh-CN">
              <a:solidFill>
                <a:schemeClr val="bg1"/>
              </a:solidFill>
              <a:latin typeface="DM Sans" pitchFamily="2" charset="77"/>
            </a:endParaRPr>
          </a:p>
          <a:p>
            <a:pPr marL="285750" indent="-285750">
              <a:buClr>
                <a:schemeClr val="bg1"/>
              </a:buClr>
              <a:buFont typeface="Wingdings" pitchFamily="2" charset="2"/>
              <a:buChar char="§"/>
            </a:pPr>
            <a:r>
              <a:rPr lang="en-US" altLang="zh-CN">
                <a:solidFill>
                  <a:schemeClr val="bg1"/>
                </a:solidFill>
                <a:latin typeface="DM Sans" pitchFamily="2" charset="77"/>
              </a:rPr>
              <a:t>Recommendations</a:t>
            </a:r>
            <a:r>
              <a:rPr lang="zh-CN" altLang="en-US">
                <a:solidFill>
                  <a:schemeClr val="bg1"/>
                </a:solidFill>
                <a:latin typeface="DM Sans" pitchFamily="2" charset="77"/>
              </a:rPr>
              <a:t> </a:t>
            </a:r>
            <a:r>
              <a:rPr lang="en-US" altLang="zh-CN">
                <a:solidFill>
                  <a:schemeClr val="bg1"/>
                </a:solidFill>
                <a:latin typeface="DM Sans" pitchFamily="2" charset="77"/>
              </a:rPr>
              <a:t>can</a:t>
            </a:r>
            <a:r>
              <a:rPr lang="zh-CN" altLang="en-US">
                <a:solidFill>
                  <a:schemeClr val="bg1"/>
                </a:solidFill>
                <a:latin typeface="DM Sans" pitchFamily="2" charset="77"/>
              </a:rPr>
              <a:t> </a:t>
            </a:r>
            <a:r>
              <a:rPr lang="en-US" altLang="zh-CN">
                <a:solidFill>
                  <a:schemeClr val="bg1"/>
                </a:solidFill>
                <a:latin typeface="DM Sans" pitchFamily="2" charset="77"/>
              </a:rPr>
              <a:t>be</a:t>
            </a:r>
            <a:r>
              <a:rPr lang="zh-CN" altLang="en-US">
                <a:solidFill>
                  <a:schemeClr val="bg1"/>
                </a:solidFill>
                <a:latin typeface="DM Sans" pitchFamily="2" charset="77"/>
              </a:rPr>
              <a:t> </a:t>
            </a:r>
            <a:r>
              <a:rPr lang="en-US" altLang="zh-CN">
                <a:solidFill>
                  <a:schemeClr val="bg1"/>
                </a:solidFill>
                <a:latin typeface="DM Sans" pitchFamily="2" charset="77"/>
              </a:rPr>
              <a:t>more</a:t>
            </a:r>
            <a:r>
              <a:rPr lang="zh-CN" altLang="en-US">
                <a:solidFill>
                  <a:schemeClr val="bg1"/>
                </a:solidFill>
                <a:latin typeface="DM Sans" pitchFamily="2" charset="77"/>
              </a:rPr>
              <a:t> </a:t>
            </a:r>
            <a:r>
              <a:rPr lang="en-US" altLang="zh-CN">
                <a:solidFill>
                  <a:schemeClr val="bg1"/>
                </a:solidFill>
                <a:latin typeface="DM Sans" pitchFamily="2" charset="77"/>
              </a:rPr>
              <a:t>accurate</a:t>
            </a:r>
            <a:r>
              <a:rPr lang="zh-CN" altLang="en-US">
                <a:solidFill>
                  <a:schemeClr val="bg1"/>
                </a:solidFill>
                <a:latin typeface="DM Sans" pitchFamily="2" charset="77"/>
              </a:rPr>
              <a:t> </a:t>
            </a:r>
            <a:r>
              <a:rPr lang="en-US" altLang="zh-CN">
                <a:solidFill>
                  <a:schemeClr val="bg1"/>
                </a:solidFill>
                <a:latin typeface="DM Sans" pitchFamily="2" charset="77"/>
              </a:rPr>
              <a:t>with</a:t>
            </a:r>
            <a:r>
              <a:rPr lang="zh-CN" altLang="en-US">
                <a:solidFill>
                  <a:schemeClr val="bg1"/>
                </a:solidFill>
                <a:latin typeface="DM Sans" pitchFamily="2" charset="77"/>
              </a:rPr>
              <a:t> </a:t>
            </a:r>
            <a:r>
              <a:rPr lang="en-US" altLang="zh-CN">
                <a:solidFill>
                  <a:schemeClr val="bg1"/>
                </a:solidFill>
                <a:latin typeface="DM Sans" pitchFamily="2" charset="77"/>
              </a:rPr>
              <a:t>the utilization</a:t>
            </a:r>
            <a:r>
              <a:rPr lang="zh-CN" altLang="en-US">
                <a:solidFill>
                  <a:schemeClr val="bg1"/>
                </a:solidFill>
                <a:latin typeface="DM Sans" pitchFamily="2" charset="77"/>
              </a:rPr>
              <a:t> </a:t>
            </a:r>
            <a:r>
              <a:rPr lang="en-US" altLang="zh-CN">
                <a:solidFill>
                  <a:schemeClr val="bg1"/>
                </a:solidFill>
                <a:latin typeface="DM Sans" pitchFamily="2" charset="77"/>
              </a:rPr>
              <a:t>of</a:t>
            </a:r>
            <a:r>
              <a:rPr lang="zh-CN" altLang="en-US">
                <a:solidFill>
                  <a:schemeClr val="bg1"/>
                </a:solidFill>
                <a:latin typeface="DM Sans" pitchFamily="2" charset="77"/>
              </a:rPr>
              <a:t> </a:t>
            </a:r>
            <a:r>
              <a:rPr lang="en-US" altLang="zh-CN">
                <a:solidFill>
                  <a:schemeClr val="bg1"/>
                </a:solidFill>
                <a:latin typeface="DM Sans" pitchFamily="2" charset="77"/>
              </a:rPr>
              <a:t>a collaborative</a:t>
            </a:r>
            <a:r>
              <a:rPr lang="zh-CN" altLang="en-US">
                <a:solidFill>
                  <a:schemeClr val="bg1"/>
                </a:solidFill>
                <a:latin typeface="DM Sans" pitchFamily="2" charset="77"/>
              </a:rPr>
              <a:t> </a:t>
            </a:r>
            <a:r>
              <a:rPr lang="en-US" altLang="zh-CN">
                <a:solidFill>
                  <a:schemeClr val="bg1"/>
                </a:solidFill>
                <a:latin typeface="DM Sans" pitchFamily="2" charset="77"/>
              </a:rPr>
              <a:t>filtering</a:t>
            </a:r>
            <a:r>
              <a:rPr lang="zh-CN" altLang="en-US">
                <a:solidFill>
                  <a:schemeClr val="bg1"/>
                </a:solidFill>
                <a:latin typeface="DM Sans" pitchFamily="2" charset="77"/>
              </a:rPr>
              <a:t> </a:t>
            </a:r>
            <a:r>
              <a:rPr lang="en-US" altLang="zh-CN">
                <a:solidFill>
                  <a:schemeClr val="bg1"/>
                </a:solidFill>
                <a:latin typeface="DM Sans" pitchFamily="2" charset="77"/>
              </a:rPr>
              <a:t>method,</a:t>
            </a:r>
            <a:r>
              <a:rPr lang="zh-CN" altLang="en-US">
                <a:solidFill>
                  <a:schemeClr val="bg1"/>
                </a:solidFill>
                <a:latin typeface="DM Sans" pitchFamily="2" charset="77"/>
              </a:rPr>
              <a:t> </a:t>
            </a:r>
            <a:r>
              <a:rPr lang="en-US" altLang="zh-CN">
                <a:solidFill>
                  <a:schemeClr val="bg1"/>
                </a:solidFill>
                <a:latin typeface="DM Sans" pitchFamily="2" charset="77"/>
              </a:rPr>
              <a:t>which</a:t>
            </a:r>
            <a:r>
              <a:rPr lang="zh-CN" altLang="en-US">
                <a:solidFill>
                  <a:schemeClr val="bg1"/>
                </a:solidFill>
                <a:latin typeface="DM Sans" pitchFamily="2" charset="77"/>
              </a:rPr>
              <a:t> </a:t>
            </a:r>
            <a:r>
              <a:rPr lang="en-US" altLang="zh-CN">
                <a:solidFill>
                  <a:schemeClr val="bg1"/>
                </a:solidFill>
                <a:latin typeface="DM Sans" pitchFamily="2" charset="77"/>
              </a:rPr>
              <a:t>would</a:t>
            </a:r>
            <a:r>
              <a:rPr lang="zh-CN" altLang="en-US">
                <a:solidFill>
                  <a:schemeClr val="bg1"/>
                </a:solidFill>
                <a:latin typeface="DM Sans" pitchFamily="2" charset="77"/>
              </a:rPr>
              <a:t> </a:t>
            </a:r>
            <a:r>
              <a:rPr lang="en-US" altLang="zh-CN">
                <a:solidFill>
                  <a:schemeClr val="bg1"/>
                </a:solidFill>
                <a:latin typeface="DM Sans" pitchFamily="2" charset="77"/>
              </a:rPr>
              <a:t>recommend</a:t>
            </a:r>
            <a:r>
              <a:rPr lang="zh-CN" altLang="en-US">
                <a:solidFill>
                  <a:schemeClr val="bg1"/>
                </a:solidFill>
                <a:latin typeface="DM Sans" pitchFamily="2" charset="77"/>
              </a:rPr>
              <a:t> </a:t>
            </a:r>
            <a:r>
              <a:rPr lang="en-US" altLang="zh-CN">
                <a:solidFill>
                  <a:schemeClr val="bg1"/>
                </a:solidFill>
                <a:latin typeface="DM Sans" pitchFamily="2" charset="77"/>
              </a:rPr>
              <a:t>a similar</a:t>
            </a:r>
            <a:r>
              <a:rPr lang="zh-CN" altLang="en-US">
                <a:solidFill>
                  <a:schemeClr val="bg1"/>
                </a:solidFill>
                <a:latin typeface="DM Sans" pitchFamily="2" charset="77"/>
              </a:rPr>
              <a:t> </a:t>
            </a:r>
            <a:r>
              <a:rPr lang="en-US" altLang="zh-CN">
                <a:solidFill>
                  <a:schemeClr val="bg1"/>
                </a:solidFill>
                <a:latin typeface="DM Sans" pitchFamily="2" charset="77"/>
              </a:rPr>
              <a:t>product</a:t>
            </a:r>
            <a:r>
              <a:rPr lang="zh-CN" altLang="en-US">
                <a:solidFill>
                  <a:schemeClr val="bg1"/>
                </a:solidFill>
                <a:latin typeface="DM Sans" pitchFamily="2" charset="77"/>
              </a:rPr>
              <a:t> </a:t>
            </a:r>
            <a:r>
              <a:rPr lang="en-US" altLang="zh-CN">
                <a:solidFill>
                  <a:schemeClr val="bg1"/>
                </a:solidFill>
                <a:latin typeface="DM Sans" pitchFamily="2" charset="77"/>
              </a:rPr>
              <a:t>that</a:t>
            </a:r>
            <a:r>
              <a:rPr lang="zh-CN" altLang="en-US">
                <a:solidFill>
                  <a:schemeClr val="bg1"/>
                </a:solidFill>
                <a:latin typeface="DM Sans" pitchFamily="2" charset="77"/>
              </a:rPr>
              <a:t> </a:t>
            </a:r>
            <a:r>
              <a:rPr lang="en-US" altLang="zh-CN">
                <a:solidFill>
                  <a:schemeClr val="bg1"/>
                </a:solidFill>
                <a:latin typeface="DM Sans" pitchFamily="2" charset="77"/>
              </a:rPr>
              <a:t>is</a:t>
            </a:r>
            <a:r>
              <a:rPr lang="zh-CN" altLang="en-US">
                <a:solidFill>
                  <a:schemeClr val="bg1"/>
                </a:solidFill>
                <a:latin typeface="DM Sans" pitchFamily="2" charset="77"/>
              </a:rPr>
              <a:t> </a:t>
            </a:r>
            <a:r>
              <a:rPr lang="en-US" altLang="zh-CN">
                <a:solidFill>
                  <a:schemeClr val="bg1"/>
                </a:solidFill>
                <a:latin typeface="DM Sans" pitchFamily="2" charset="77"/>
              </a:rPr>
              <a:t>bought</a:t>
            </a:r>
            <a:r>
              <a:rPr lang="zh-CN" altLang="en-US">
                <a:solidFill>
                  <a:schemeClr val="bg1"/>
                </a:solidFill>
                <a:latin typeface="DM Sans" pitchFamily="2" charset="77"/>
              </a:rPr>
              <a:t> </a:t>
            </a:r>
            <a:r>
              <a:rPr lang="en-US" altLang="zh-CN">
                <a:solidFill>
                  <a:schemeClr val="bg1"/>
                </a:solidFill>
                <a:latin typeface="DM Sans" pitchFamily="2" charset="77"/>
              </a:rPr>
              <a:t>by</a:t>
            </a:r>
            <a:r>
              <a:rPr lang="zh-CN" altLang="en-US">
                <a:solidFill>
                  <a:schemeClr val="bg1"/>
                </a:solidFill>
                <a:latin typeface="DM Sans" pitchFamily="2" charset="77"/>
              </a:rPr>
              <a:t> </a:t>
            </a:r>
            <a:r>
              <a:rPr lang="en-US" altLang="zh-CN">
                <a:solidFill>
                  <a:schemeClr val="bg1"/>
                </a:solidFill>
                <a:latin typeface="DM Sans" pitchFamily="2" charset="77"/>
              </a:rPr>
              <a:t>similar</a:t>
            </a:r>
            <a:r>
              <a:rPr lang="zh-CN" altLang="en-US">
                <a:solidFill>
                  <a:schemeClr val="bg1"/>
                </a:solidFill>
                <a:latin typeface="DM Sans" pitchFamily="2" charset="77"/>
              </a:rPr>
              <a:t> </a:t>
            </a:r>
            <a:r>
              <a:rPr lang="en-US" altLang="zh-CN">
                <a:solidFill>
                  <a:schemeClr val="bg1"/>
                </a:solidFill>
                <a:latin typeface="DM Sans" pitchFamily="2" charset="77"/>
              </a:rPr>
              <a:t>customers.</a:t>
            </a:r>
          </a:p>
          <a:p>
            <a:pPr>
              <a:buClr>
                <a:schemeClr val="bg1"/>
              </a:buClr>
            </a:pPr>
            <a:endParaRPr lang="en-US">
              <a:solidFill>
                <a:schemeClr val="bg1"/>
              </a:solidFill>
              <a:latin typeface="DM Sans" pitchFamily="2" charset="77"/>
            </a:endParaRPr>
          </a:p>
          <a:p>
            <a:pPr marL="285750" indent="-285750">
              <a:buClr>
                <a:schemeClr val="bg1"/>
              </a:buClr>
              <a:buFont typeface="Wingdings" pitchFamily="2" charset="2"/>
              <a:buChar char="§"/>
            </a:pPr>
            <a:r>
              <a:rPr lang="en-US">
                <a:solidFill>
                  <a:schemeClr val="bg1"/>
                </a:solidFill>
                <a:latin typeface="DM Sans" pitchFamily="2" charset="77"/>
              </a:rPr>
              <a:t>Considering the scalability and data structure, we should also implement NoSQL to cope with larger data volume and unstructured elements (e.g., customer reviews, product descriptions).</a:t>
            </a:r>
          </a:p>
          <a:p>
            <a:pPr marL="285750" indent="-285750">
              <a:buClr>
                <a:schemeClr val="bg1"/>
              </a:buClr>
              <a:buFont typeface="Wingdings" pitchFamily="2" charset="2"/>
              <a:buChar char="§"/>
            </a:pPr>
            <a:endParaRPr lang="en-US">
              <a:solidFill>
                <a:schemeClr val="bg1"/>
              </a:solidFill>
              <a:latin typeface="DM Sans" pitchFamily="2" charset="77"/>
            </a:endParaRPr>
          </a:p>
          <a:p>
            <a:pPr marL="285750" indent="-285750">
              <a:buClr>
                <a:schemeClr val="bg1"/>
              </a:buClr>
              <a:buFont typeface="Wingdings" pitchFamily="2" charset="2"/>
              <a:buChar char="§"/>
            </a:pPr>
            <a:r>
              <a:rPr lang="en-US">
                <a:solidFill>
                  <a:schemeClr val="bg1"/>
                </a:solidFill>
                <a:latin typeface="DM Sans" pitchFamily="2" charset="77"/>
              </a:rPr>
              <a:t>Regular cleanup should be conducted to archive old and used data, which can help manage the growth of attributes.</a:t>
            </a:r>
          </a:p>
        </p:txBody>
      </p:sp>
      <p:sp>
        <p:nvSpPr>
          <p:cNvPr id="3" name="文本框 2">
            <a:extLst>
              <a:ext uri="{FF2B5EF4-FFF2-40B4-BE49-F238E27FC236}">
                <a16:creationId xmlns:a16="http://schemas.microsoft.com/office/drawing/2014/main" id="{5A87369A-C155-F11F-739D-FC0466A708E1}"/>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29</a:t>
            </a:r>
          </a:p>
        </p:txBody>
      </p:sp>
    </p:spTree>
    <p:extLst>
      <p:ext uri="{BB962C8B-B14F-4D97-AF65-F5344CB8AC3E}">
        <p14:creationId xmlns:p14="http://schemas.microsoft.com/office/powerpoint/2010/main" val="2336100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C8BC253-94B9-ADB3-A14E-D67E8D214F95}"/>
              </a:ext>
            </a:extLst>
          </p:cNvPr>
          <p:cNvGraphicFramePr>
            <a:graphicFrameLocks noChangeAspect="1"/>
          </p:cNvGraphicFramePr>
          <p:nvPr>
            <p:custDataLst>
              <p:tags r:id="rId1"/>
            </p:custDataLst>
            <p:extLst>
              <p:ext uri="{D42A27DB-BD31-4B8C-83A1-F6EECF244321}">
                <p14:modId xmlns:p14="http://schemas.microsoft.com/office/powerpoint/2010/main" val="71736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FC8BC253-94B9-ADB3-A14E-D67E8D214F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6" name="Google Shape;196;p40"/>
          <p:cNvSpPr txBox="1">
            <a:spLocks noGrp="1"/>
          </p:cNvSpPr>
          <p:nvPr>
            <p:ph type="title" idx="2"/>
          </p:nvPr>
        </p:nvSpPr>
        <p:spPr>
          <a:xfrm>
            <a:off x="1486907" y="1152704"/>
            <a:ext cx="5735424" cy="527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t>Executive Summary &amp; Research Objectives</a:t>
            </a:r>
            <a:endParaRPr/>
          </a:p>
        </p:txBody>
      </p:sp>
      <p:sp>
        <p:nvSpPr>
          <p:cNvPr id="204" name="Google Shape;204;p40"/>
          <p:cNvSpPr txBox="1">
            <a:spLocks noGrp="1"/>
          </p:cNvSpPr>
          <p:nvPr>
            <p:ph type="title" idx="9"/>
          </p:nvPr>
        </p:nvSpPr>
        <p:spPr>
          <a:xfrm>
            <a:off x="951621" y="1169301"/>
            <a:ext cx="483536" cy="484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000"/>
              <a:t>1</a:t>
            </a:r>
            <a:endParaRPr sz="2000"/>
          </a:p>
        </p:txBody>
      </p:sp>
      <p:sp>
        <p:nvSpPr>
          <p:cNvPr id="214" name="Google Shape;214;p40"/>
          <p:cNvSpPr txBox="1">
            <a:spLocks noGrp="1"/>
          </p:cNvSpPr>
          <p:nvPr>
            <p:ph type="title"/>
          </p:nvPr>
        </p:nvSpPr>
        <p:spPr>
          <a:xfrm>
            <a:off x="720000" y="534539"/>
            <a:ext cx="7704000" cy="572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a:t>AGENDA</a:t>
            </a:r>
            <a:endParaRPr/>
          </a:p>
        </p:txBody>
      </p:sp>
      <p:sp>
        <p:nvSpPr>
          <p:cNvPr id="5" name="Google Shape;204;p40">
            <a:extLst>
              <a:ext uri="{FF2B5EF4-FFF2-40B4-BE49-F238E27FC236}">
                <a16:creationId xmlns:a16="http://schemas.microsoft.com/office/drawing/2014/main" id="{4A1F60A6-A7C1-9E40-245A-BDC5E24B122A}"/>
              </a:ext>
            </a:extLst>
          </p:cNvPr>
          <p:cNvSpPr txBox="1">
            <a:spLocks/>
          </p:cNvSpPr>
          <p:nvPr/>
        </p:nvSpPr>
        <p:spPr>
          <a:xfrm>
            <a:off x="951621" y="1792765"/>
            <a:ext cx="483536" cy="484800"/>
          </a:xfrm>
          <a:prstGeom prst="rect">
            <a:avLst/>
          </a:prstGeom>
          <a:solidFill>
            <a:schemeClr val="l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3600"/>
              <a:buFont typeface="DM Sans"/>
              <a:buNone/>
              <a:defRPr sz="3600" b="1" i="0" u="none" strike="noStrike" cap="none">
                <a:solidFill>
                  <a:schemeClr val="dk2"/>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9pPr>
          </a:lstStyle>
          <a:p>
            <a:r>
              <a:rPr lang="en" sz="2000"/>
              <a:t>2</a:t>
            </a:r>
          </a:p>
        </p:txBody>
      </p:sp>
      <p:sp>
        <p:nvSpPr>
          <p:cNvPr id="36" name="Google Shape;196;p40">
            <a:extLst>
              <a:ext uri="{FF2B5EF4-FFF2-40B4-BE49-F238E27FC236}">
                <a16:creationId xmlns:a16="http://schemas.microsoft.com/office/drawing/2014/main" id="{06FC7791-F792-53FA-4B28-6774556D52C6}"/>
              </a:ext>
            </a:extLst>
          </p:cNvPr>
          <p:cNvSpPr txBox="1">
            <a:spLocks/>
          </p:cNvSpPr>
          <p:nvPr/>
        </p:nvSpPr>
        <p:spPr>
          <a:xfrm>
            <a:off x="1486907" y="1763819"/>
            <a:ext cx="5521112" cy="527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500"/>
              <a:buFont typeface="DM Sans"/>
              <a:buNone/>
              <a:defRPr sz="2000" b="1" i="0" u="none" strike="noStrike" cap="none">
                <a:solidFill>
                  <a:schemeClr val="lt1"/>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9pPr>
          </a:lstStyle>
          <a:p>
            <a:r>
              <a:rPr lang="en-US"/>
              <a:t>Data Ingestion &amp; Preparation</a:t>
            </a:r>
          </a:p>
        </p:txBody>
      </p:sp>
      <p:sp>
        <p:nvSpPr>
          <p:cNvPr id="39" name="Google Shape;204;p40">
            <a:extLst>
              <a:ext uri="{FF2B5EF4-FFF2-40B4-BE49-F238E27FC236}">
                <a16:creationId xmlns:a16="http://schemas.microsoft.com/office/drawing/2014/main" id="{08E6AB82-180E-7BAE-078D-6581A1E6FE23}"/>
              </a:ext>
            </a:extLst>
          </p:cNvPr>
          <p:cNvSpPr txBox="1">
            <a:spLocks/>
          </p:cNvSpPr>
          <p:nvPr/>
        </p:nvSpPr>
        <p:spPr>
          <a:xfrm>
            <a:off x="951621" y="2416229"/>
            <a:ext cx="483536" cy="484800"/>
          </a:xfrm>
          <a:prstGeom prst="rect">
            <a:avLst/>
          </a:prstGeom>
          <a:solidFill>
            <a:schemeClr val="l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3600"/>
              <a:buFont typeface="DM Sans"/>
              <a:buNone/>
              <a:defRPr sz="3600" b="1" i="0" u="none" strike="noStrike" cap="none">
                <a:solidFill>
                  <a:schemeClr val="dk2"/>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9pPr>
          </a:lstStyle>
          <a:p>
            <a:r>
              <a:rPr lang="en" sz="2000"/>
              <a:t>3</a:t>
            </a:r>
          </a:p>
        </p:txBody>
      </p:sp>
      <p:sp>
        <p:nvSpPr>
          <p:cNvPr id="41" name="Google Shape;204;p40">
            <a:extLst>
              <a:ext uri="{FF2B5EF4-FFF2-40B4-BE49-F238E27FC236}">
                <a16:creationId xmlns:a16="http://schemas.microsoft.com/office/drawing/2014/main" id="{BB6F0FEA-5851-2DC5-A75F-7410F299F953}"/>
              </a:ext>
            </a:extLst>
          </p:cNvPr>
          <p:cNvSpPr txBox="1">
            <a:spLocks/>
          </p:cNvSpPr>
          <p:nvPr/>
        </p:nvSpPr>
        <p:spPr>
          <a:xfrm>
            <a:off x="951621" y="3039693"/>
            <a:ext cx="483536" cy="484800"/>
          </a:xfrm>
          <a:prstGeom prst="rect">
            <a:avLst/>
          </a:prstGeom>
          <a:solidFill>
            <a:schemeClr val="l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3600"/>
              <a:buFont typeface="DM Sans"/>
              <a:buNone/>
              <a:defRPr sz="3600" b="1" i="0" u="none" strike="noStrike" cap="none">
                <a:solidFill>
                  <a:schemeClr val="dk2"/>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9pPr>
          </a:lstStyle>
          <a:p>
            <a:r>
              <a:rPr lang="en" sz="2000"/>
              <a:t>4</a:t>
            </a:r>
          </a:p>
        </p:txBody>
      </p:sp>
      <p:sp>
        <p:nvSpPr>
          <p:cNvPr id="43" name="Google Shape;204;p40">
            <a:extLst>
              <a:ext uri="{FF2B5EF4-FFF2-40B4-BE49-F238E27FC236}">
                <a16:creationId xmlns:a16="http://schemas.microsoft.com/office/drawing/2014/main" id="{5F9DA7A0-2F6D-55B2-E78C-3D91827A263B}"/>
              </a:ext>
            </a:extLst>
          </p:cNvPr>
          <p:cNvSpPr txBox="1">
            <a:spLocks/>
          </p:cNvSpPr>
          <p:nvPr/>
        </p:nvSpPr>
        <p:spPr>
          <a:xfrm>
            <a:off x="951621" y="3663157"/>
            <a:ext cx="483536" cy="484800"/>
          </a:xfrm>
          <a:prstGeom prst="rect">
            <a:avLst/>
          </a:prstGeom>
          <a:solidFill>
            <a:schemeClr val="l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3600"/>
              <a:buFont typeface="DM Sans"/>
              <a:buNone/>
              <a:defRPr sz="3600" b="1" i="0" u="none" strike="noStrike" cap="none">
                <a:solidFill>
                  <a:schemeClr val="dk2"/>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9pPr>
          </a:lstStyle>
          <a:p>
            <a:r>
              <a:rPr lang="en" sz="2000"/>
              <a:t>5</a:t>
            </a:r>
          </a:p>
        </p:txBody>
      </p:sp>
      <p:sp>
        <p:nvSpPr>
          <p:cNvPr id="44" name="Google Shape;196;p40">
            <a:extLst>
              <a:ext uri="{FF2B5EF4-FFF2-40B4-BE49-F238E27FC236}">
                <a16:creationId xmlns:a16="http://schemas.microsoft.com/office/drawing/2014/main" id="{C2E5E1B5-1B70-A32E-AF5E-92D19B371F1E}"/>
              </a:ext>
            </a:extLst>
          </p:cNvPr>
          <p:cNvSpPr txBox="1">
            <a:spLocks/>
          </p:cNvSpPr>
          <p:nvPr/>
        </p:nvSpPr>
        <p:spPr>
          <a:xfrm>
            <a:off x="1486907" y="3641707"/>
            <a:ext cx="5864012" cy="527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500"/>
              <a:buFont typeface="DM Sans"/>
              <a:buNone/>
              <a:defRPr sz="2000" b="1" i="0" u="none" strike="noStrike" cap="none">
                <a:solidFill>
                  <a:schemeClr val="lt1"/>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9pPr>
          </a:lstStyle>
          <a:p>
            <a:r>
              <a:rPr lang="en-US"/>
              <a:t>Analysis &amp; Recommendations</a:t>
            </a:r>
          </a:p>
        </p:txBody>
      </p:sp>
      <p:sp>
        <p:nvSpPr>
          <p:cNvPr id="45" name="Google Shape;204;p40">
            <a:extLst>
              <a:ext uri="{FF2B5EF4-FFF2-40B4-BE49-F238E27FC236}">
                <a16:creationId xmlns:a16="http://schemas.microsoft.com/office/drawing/2014/main" id="{B4DE7AD1-8FE1-90C5-DDB0-0410D4FE710E}"/>
              </a:ext>
            </a:extLst>
          </p:cNvPr>
          <p:cNvSpPr txBox="1">
            <a:spLocks/>
          </p:cNvSpPr>
          <p:nvPr/>
        </p:nvSpPr>
        <p:spPr>
          <a:xfrm>
            <a:off x="951621" y="4287673"/>
            <a:ext cx="483536" cy="484800"/>
          </a:xfrm>
          <a:prstGeom prst="rect">
            <a:avLst/>
          </a:prstGeom>
          <a:solidFill>
            <a:schemeClr val="l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lt1"/>
              </a:buClr>
              <a:buSzPts val="3600"/>
              <a:buFont typeface="DM Sans"/>
              <a:buNone/>
              <a:defRPr sz="3600" b="1" i="0" u="none" strike="noStrike" cap="none">
                <a:solidFill>
                  <a:schemeClr val="dk2"/>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3600"/>
              <a:buFont typeface="DM Sans"/>
              <a:buNone/>
              <a:defRPr sz="3600" b="1" i="0" u="none" strike="noStrike" cap="none">
                <a:solidFill>
                  <a:schemeClr val="lt1"/>
                </a:solidFill>
                <a:latin typeface="DM Sans"/>
                <a:ea typeface="DM Sans"/>
                <a:cs typeface="DM Sans"/>
                <a:sym typeface="DM Sans"/>
              </a:defRPr>
            </a:lvl9pPr>
          </a:lstStyle>
          <a:p>
            <a:r>
              <a:rPr lang="en" sz="2000"/>
              <a:t>6</a:t>
            </a:r>
          </a:p>
        </p:txBody>
      </p:sp>
      <p:sp>
        <p:nvSpPr>
          <p:cNvPr id="46" name="Google Shape;196;p40">
            <a:extLst>
              <a:ext uri="{FF2B5EF4-FFF2-40B4-BE49-F238E27FC236}">
                <a16:creationId xmlns:a16="http://schemas.microsoft.com/office/drawing/2014/main" id="{939DDC6C-4460-7ACC-9E3D-5B4432BA3819}"/>
              </a:ext>
            </a:extLst>
          </p:cNvPr>
          <p:cNvSpPr txBox="1">
            <a:spLocks/>
          </p:cNvSpPr>
          <p:nvPr/>
        </p:nvSpPr>
        <p:spPr>
          <a:xfrm>
            <a:off x="1486906" y="4266223"/>
            <a:ext cx="5263937" cy="527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500"/>
              <a:buFont typeface="DM Sans"/>
              <a:buNone/>
              <a:defRPr sz="2000" b="1" i="0" u="none" strike="noStrike" cap="none">
                <a:solidFill>
                  <a:schemeClr val="lt1"/>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9pPr>
          </a:lstStyle>
          <a:p>
            <a:r>
              <a:rPr lang="en-US"/>
              <a:t>Future Work</a:t>
            </a:r>
          </a:p>
        </p:txBody>
      </p:sp>
      <p:sp>
        <p:nvSpPr>
          <p:cNvPr id="47" name="Google Shape;196;p40">
            <a:extLst>
              <a:ext uri="{FF2B5EF4-FFF2-40B4-BE49-F238E27FC236}">
                <a16:creationId xmlns:a16="http://schemas.microsoft.com/office/drawing/2014/main" id="{FB98437C-7B34-48EB-F448-E5571901682A}"/>
              </a:ext>
            </a:extLst>
          </p:cNvPr>
          <p:cNvSpPr txBox="1">
            <a:spLocks/>
          </p:cNvSpPr>
          <p:nvPr/>
        </p:nvSpPr>
        <p:spPr>
          <a:xfrm>
            <a:off x="1486907" y="2394779"/>
            <a:ext cx="5521112" cy="527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500"/>
              <a:buFont typeface="DM Sans"/>
              <a:buNone/>
              <a:defRPr sz="2000" b="1" i="0" u="none" strike="noStrike" cap="none">
                <a:solidFill>
                  <a:schemeClr val="lt1"/>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9pPr>
          </a:lstStyle>
          <a:p>
            <a:r>
              <a:rPr lang="en-US"/>
              <a:t>Data Modeling &amp; Design</a:t>
            </a:r>
          </a:p>
        </p:txBody>
      </p:sp>
      <p:sp>
        <p:nvSpPr>
          <p:cNvPr id="48" name="Google Shape;196;p40">
            <a:extLst>
              <a:ext uri="{FF2B5EF4-FFF2-40B4-BE49-F238E27FC236}">
                <a16:creationId xmlns:a16="http://schemas.microsoft.com/office/drawing/2014/main" id="{BA561210-85A8-9FD9-DF59-30BBB78DD9D9}"/>
              </a:ext>
            </a:extLst>
          </p:cNvPr>
          <p:cNvSpPr txBox="1">
            <a:spLocks/>
          </p:cNvSpPr>
          <p:nvPr/>
        </p:nvSpPr>
        <p:spPr>
          <a:xfrm>
            <a:off x="1486907" y="3018243"/>
            <a:ext cx="5521112" cy="527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2500"/>
              <a:buFont typeface="DM Sans"/>
              <a:buNone/>
              <a:defRPr sz="2000" b="1" i="0" u="none" strike="noStrike" cap="none">
                <a:solidFill>
                  <a:schemeClr val="lt1"/>
                </a:solidFill>
                <a:latin typeface="DM Sans"/>
                <a:ea typeface="DM Sans"/>
                <a:cs typeface="DM Sans"/>
                <a:sym typeface="DM Sans"/>
              </a:defRPr>
            </a:lvl1pPr>
            <a:lvl2pPr marR="0" lvl="1"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2pPr>
            <a:lvl3pPr marR="0" lvl="2"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3pPr>
            <a:lvl4pPr marR="0" lvl="3"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4pPr>
            <a:lvl5pPr marR="0" lvl="4"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5pPr>
            <a:lvl6pPr marR="0" lvl="5"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6pPr>
            <a:lvl7pPr marR="0" lvl="6"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7pPr>
            <a:lvl8pPr marR="0" lvl="7"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8pPr>
            <a:lvl9pPr marR="0" lvl="8" algn="ctr" rtl="0">
              <a:lnSpc>
                <a:spcPct val="100000"/>
              </a:lnSpc>
              <a:spcBef>
                <a:spcPts val="0"/>
              </a:spcBef>
              <a:spcAft>
                <a:spcPts val="0"/>
              </a:spcAft>
              <a:buClr>
                <a:schemeClr val="lt1"/>
              </a:buClr>
              <a:buSzPts val="2500"/>
              <a:buFont typeface="DM Sans"/>
              <a:buNone/>
              <a:defRPr sz="2500" b="1" i="0" u="none" strike="noStrike" cap="none">
                <a:solidFill>
                  <a:schemeClr val="lt1"/>
                </a:solidFill>
                <a:latin typeface="DM Sans"/>
                <a:ea typeface="DM Sans"/>
                <a:cs typeface="DM Sans"/>
                <a:sym typeface="DM Sans"/>
              </a:defRPr>
            </a:lvl9pPr>
          </a:lstStyle>
          <a:p>
            <a:r>
              <a:rPr lang="en-US"/>
              <a:t>Insights</a:t>
            </a:r>
          </a:p>
        </p:txBody>
      </p:sp>
      <p:sp>
        <p:nvSpPr>
          <p:cNvPr id="4" name="文本框 3">
            <a:extLst>
              <a:ext uri="{FF2B5EF4-FFF2-40B4-BE49-F238E27FC236}">
                <a16:creationId xmlns:a16="http://schemas.microsoft.com/office/drawing/2014/main" id="{BE6FBF4C-28A7-D665-CECA-2B2D472E0331}"/>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3</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9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1D90908-BE1F-B81E-78AB-26774FAE7A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51D90908-BE1F-B81E-78AB-26774FAE7A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0" name="Google Shape;1300;p77"/>
          <p:cNvSpPr txBox="1">
            <a:spLocks noGrp="1"/>
          </p:cNvSpPr>
          <p:nvPr>
            <p:ph type="body" idx="1"/>
          </p:nvPr>
        </p:nvSpPr>
        <p:spPr>
          <a:xfrm>
            <a:off x="720000" y="1215752"/>
            <a:ext cx="7704000" cy="3416400"/>
          </a:xfrm>
          <a:prstGeom prst="rect">
            <a:avLst/>
          </a:prstGeom>
        </p:spPr>
        <p:txBody>
          <a:bodyPr spcFirstLastPara="1" wrap="square" lIns="91425" tIns="91425" rIns="91425" bIns="91425" anchor="t" anchorCtr="0">
            <a:noAutofit/>
          </a:bodyPr>
          <a:lstStyle/>
          <a:p>
            <a:pPr marL="171450" lvl="0" indent="-171450" algn="l" rtl="0">
              <a:lnSpc>
                <a:spcPct val="100000"/>
              </a:lnSpc>
              <a:spcBef>
                <a:spcPts val="0"/>
              </a:spcBef>
              <a:spcAft>
                <a:spcPts val="600"/>
              </a:spcAft>
              <a:buFont typeface="Arial" panose="020B0604020202020204" pitchFamily="34" charset="0"/>
              <a:buChar char="•"/>
            </a:pPr>
            <a:r>
              <a:rPr lang="en-US"/>
              <a:t>State-level macro-economic data from the Brazilian Institute of Geography and Statistics: </a:t>
            </a:r>
            <a:r>
              <a:rPr lang="en-US" u="sng">
                <a:hlinkClick r:id="rId6"/>
              </a:rPr>
              <a:t>https://www.ibge.gov.br/en/cities-and-states/sp.html</a:t>
            </a:r>
            <a:endParaRPr lang="en-US" u="sng"/>
          </a:p>
          <a:p>
            <a:pPr marL="171450" indent="-171450">
              <a:spcAft>
                <a:spcPts val="600"/>
              </a:spcAft>
              <a:buFont typeface="Arial" panose="020B0604020202020204" pitchFamily="34" charset="0"/>
              <a:buChar char="•"/>
            </a:pPr>
            <a:r>
              <a:rPr lang="en-US" err="1"/>
              <a:t>Olist</a:t>
            </a:r>
            <a:r>
              <a:rPr lang="en-US"/>
              <a:t> Store official website: </a:t>
            </a:r>
            <a:r>
              <a:rPr lang="en-US">
                <a:hlinkClick r:id="rId7"/>
              </a:rPr>
              <a:t>https://olist.com/</a:t>
            </a:r>
            <a:endParaRPr lang="en-US" u="sng"/>
          </a:p>
          <a:p>
            <a:pPr marL="171450" indent="-171450">
              <a:spcAft>
                <a:spcPts val="600"/>
              </a:spcAft>
              <a:buFont typeface="Arial" panose="020B0604020202020204" pitchFamily="34" charset="0"/>
              <a:buChar char="•"/>
            </a:pPr>
            <a:r>
              <a:rPr lang="en-US"/>
              <a:t>Public e-commerce data from </a:t>
            </a:r>
            <a:r>
              <a:rPr lang="en-US" err="1"/>
              <a:t>Olist</a:t>
            </a:r>
            <a:r>
              <a:rPr lang="en-US"/>
              <a:t> Store: </a:t>
            </a:r>
            <a:r>
              <a:rPr lang="en-US">
                <a:hlinkClick r:id="rId8"/>
              </a:rPr>
              <a:t>https://www.kaggle.com/datasets/olistbr/brazilian-ecommerce/data</a:t>
            </a:r>
          </a:p>
          <a:p>
            <a:pPr marL="171450" indent="-171450">
              <a:spcAft>
                <a:spcPts val="600"/>
              </a:spcAft>
              <a:buFont typeface="Arial" panose="020B0604020202020204" pitchFamily="34" charset="0"/>
              <a:buChar char="•"/>
            </a:pPr>
            <a:r>
              <a:rPr lang="en-US"/>
              <a:t>Most valued e-commerce and direct-to-consumer unicorns in Brazil as of October. (2022)   </a:t>
            </a:r>
            <a:r>
              <a:rPr lang="en-US">
                <a:hlinkClick r:id="rId9"/>
              </a:rPr>
              <a:t>https://www.statista.com/statistics/1282103/highest-valued-e-commerce-startup-companies-brazil/</a:t>
            </a:r>
            <a:endParaRPr lang="en-US"/>
          </a:p>
          <a:p>
            <a:pPr marL="171450" indent="-171450">
              <a:spcAft>
                <a:spcPts val="600"/>
              </a:spcAft>
              <a:buFont typeface="Arial" panose="020B0604020202020204" pitchFamily="34" charset="0"/>
              <a:buChar char="•"/>
            </a:pPr>
            <a:r>
              <a:rPr lang="en-US"/>
              <a:t>Leading unicorn companies based on market value in Latin America. (2023)   </a:t>
            </a:r>
            <a:r>
              <a:rPr lang="en-US">
                <a:hlinkClick r:id="rId10"/>
              </a:rPr>
              <a:t>https://www.statista.com/statistics/1028116/latin-america-unicorn-companies-market-value/</a:t>
            </a:r>
            <a:endParaRPr lang="en-US"/>
          </a:p>
          <a:p>
            <a:pPr marL="171450" indent="-171450">
              <a:spcAft>
                <a:spcPts val="600"/>
              </a:spcAft>
              <a:buFont typeface="Arial" panose="020B0604020202020204" pitchFamily="34" charset="0"/>
              <a:buChar char="•"/>
            </a:pPr>
            <a:endParaRPr lang="en-US"/>
          </a:p>
        </p:txBody>
      </p:sp>
      <p:sp>
        <p:nvSpPr>
          <p:cNvPr id="1301" name="Google Shape;1301;p77"/>
          <p:cNvSpPr txBox="1">
            <a:spLocks noGrp="1"/>
          </p:cNvSpPr>
          <p:nvPr>
            <p:ph type="title"/>
          </p:nvPr>
        </p:nvSpPr>
        <p:spPr>
          <a:xfrm>
            <a:off x="720000" y="5394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References</a:t>
            </a:r>
            <a:endParaRPr/>
          </a:p>
        </p:txBody>
      </p:sp>
      <p:sp>
        <p:nvSpPr>
          <p:cNvPr id="4" name="文本框 3">
            <a:extLst>
              <a:ext uri="{FF2B5EF4-FFF2-40B4-BE49-F238E27FC236}">
                <a16:creationId xmlns:a16="http://schemas.microsoft.com/office/drawing/2014/main" id="{9103C2E7-2424-ADED-1648-B455094A8819}"/>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30</a:t>
            </a:r>
          </a:p>
        </p:txBody>
      </p:sp>
    </p:spTree>
    <p:extLst>
      <p:ext uri="{BB962C8B-B14F-4D97-AF65-F5344CB8AC3E}">
        <p14:creationId xmlns:p14="http://schemas.microsoft.com/office/powerpoint/2010/main" val="26671416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1042;p74">
            <a:extLst>
              <a:ext uri="{FF2B5EF4-FFF2-40B4-BE49-F238E27FC236}">
                <a16:creationId xmlns:a16="http://schemas.microsoft.com/office/drawing/2014/main" id="{EE9EFA9E-573B-33FC-B82D-A40441A48B4C}"/>
              </a:ext>
            </a:extLst>
          </p:cNvPr>
          <p:cNvPicPr preferRelativeResize="0"/>
          <p:nvPr/>
        </p:nvPicPr>
        <p:blipFill rotWithShape="1">
          <a:blip r:embed="rId2">
            <a:alphaModFix/>
          </a:blip>
          <a:srcRect l="5563" r="5563"/>
          <a:stretch/>
        </p:blipFill>
        <p:spPr>
          <a:xfrm>
            <a:off x="4068800" y="880700"/>
            <a:ext cx="4911549" cy="3583126"/>
          </a:xfrm>
          <a:prstGeom prst="rect">
            <a:avLst/>
          </a:prstGeom>
          <a:noFill/>
          <a:ln>
            <a:noFill/>
          </a:ln>
        </p:spPr>
      </p:pic>
      <p:sp>
        <p:nvSpPr>
          <p:cNvPr id="6" name="TextBox 5">
            <a:extLst>
              <a:ext uri="{FF2B5EF4-FFF2-40B4-BE49-F238E27FC236}">
                <a16:creationId xmlns:a16="http://schemas.microsoft.com/office/drawing/2014/main" id="{D0CF1651-3A20-A1A0-8FB9-FC34818B9E48}"/>
              </a:ext>
            </a:extLst>
          </p:cNvPr>
          <p:cNvSpPr txBox="1"/>
          <p:nvPr/>
        </p:nvSpPr>
        <p:spPr>
          <a:xfrm>
            <a:off x="623455" y="2017752"/>
            <a:ext cx="3624349" cy="1107996"/>
          </a:xfrm>
          <a:prstGeom prst="rect">
            <a:avLst/>
          </a:prstGeom>
          <a:noFill/>
        </p:spPr>
        <p:txBody>
          <a:bodyPr wrap="square" rtlCol="0">
            <a:spAutoFit/>
          </a:bodyPr>
          <a:lstStyle/>
          <a:p>
            <a:r>
              <a:rPr lang="en-US" altLang="zh-CN" sz="6600" b="1">
                <a:solidFill>
                  <a:schemeClr val="bg1"/>
                </a:solidFill>
                <a:latin typeface="DM Sans" pitchFamily="2" charset="77"/>
              </a:rPr>
              <a:t>THANKS</a:t>
            </a:r>
            <a:endParaRPr lang="en-US" sz="6600" b="1">
              <a:solidFill>
                <a:schemeClr val="bg1"/>
              </a:solidFill>
              <a:latin typeface="DM Sans" pitchFamily="2" charset="77"/>
            </a:endParaRPr>
          </a:p>
        </p:txBody>
      </p:sp>
    </p:spTree>
    <p:extLst>
      <p:ext uri="{BB962C8B-B14F-4D97-AF65-F5344CB8AC3E}">
        <p14:creationId xmlns:p14="http://schemas.microsoft.com/office/powerpoint/2010/main" val="2019717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1042;p74">
            <a:extLst>
              <a:ext uri="{FF2B5EF4-FFF2-40B4-BE49-F238E27FC236}">
                <a16:creationId xmlns:a16="http://schemas.microsoft.com/office/drawing/2014/main" id="{EE9EFA9E-573B-33FC-B82D-A40441A48B4C}"/>
              </a:ext>
            </a:extLst>
          </p:cNvPr>
          <p:cNvPicPr preferRelativeResize="0"/>
          <p:nvPr/>
        </p:nvPicPr>
        <p:blipFill rotWithShape="1">
          <a:blip r:embed="rId2">
            <a:alphaModFix/>
          </a:blip>
          <a:srcRect l="5563" r="5563"/>
          <a:stretch/>
        </p:blipFill>
        <p:spPr>
          <a:xfrm>
            <a:off x="4068800" y="880700"/>
            <a:ext cx="4911549" cy="3583126"/>
          </a:xfrm>
          <a:prstGeom prst="rect">
            <a:avLst/>
          </a:prstGeom>
          <a:noFill/>
          <a:ln>
            <a:noFill/>
          </a:ln>
        </p:spPr>
      </p:pic>
      <p:sp>
        <p:nvSpPr>
          <p:cNvPr id="6" name="TextBox 5">
            <a:extLst>
              <a:ext uri="{FF2B5EF4-FFF2-40B4-BE49-F238E27FC236}">
                <a16:creationId xmlns:a16="http://schemas.microsoft.com/office/drawing/2014/main" id="{D0CF1651-3A20-A1A0-8FB9-FC34818B9E48}"/>
              </a:ext>
            </a:extLst>
          </p:cNvPr>
          <p:cNvSpPr txBox="1"/>
          <p:nvPr/>
        </p:nvSpPr>
        <p:spPr>
          <a:xfrm>
            <a:off x="623455" y="2017752"/>
            <a:ext cx="3624349" cy="923330"/>
          </a:xfrm>
          <a:prstGeom prst="rect">
            <a:avLst/>
          </a:prstGeom>
          <a:noFill/>
        </p:spPr>
        <p:txBody>
          <a:bodyPr wrap="square" rtlCol="0">
            <a:spAutoFit/>
          </a:bodyPr>
          <a:lstStyle/>
          <a:p>
            <a:r>
              <a:rPr lang="en-US" altLang="zh-CN" sz="5400" b="1">
                <a:solidFill>
                  <a:schemeClr val="bg1"/>
                </a:solidFill>
                <a:latin typeface="DM Sans" pitchFamily="2" charset="77"/>
              </a:rPr>
              <a:t>Appendix</a:t>
            </a:r>
            <a:endParaRPr lang="en-US" sz="5400" b="1">
              <a:solidFill>
                <a:schemeClr val="bg1"/>
              </a:solidFill>
              <a:latin typeface="DM Sans" pitchFamily="2" charset="77"/>
            </a:endParaRPr>
          </a:p>
        </p:txBody>
      </p:sp>
    </p:spTree>
    <p:extLst>
      <p:ext uri="{BB962C8B-B14F-4D97-AF65-F5344CB8AC3E}">
        <p14:creationId xmlns:p14="http://schemas.microsoft.com/office/powerpoint/2010/main" val="1902302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table&#10;&#10;Description automatically generated">
            <a:extLst>
              <a:ext uri="{FF2B5EF4-FFF2-40B4-BE49-F238E27FC236}">
                <a16:creationId xmlns:a16="http://schemas.microsoft.com/office/drawing/2014/main" id="{67F480B5-7210-D4B8-95DD-65FFA77B74C5}"/>
              </a:ext>
            </a:extLst>
          </p:cNvPr>
          <p:cNvPicPr>
            <a:picLocks noChangeAspect="1"/>
          </p:cNvPicPr>
          <p:nvPr/>
        </p:nvPicPr>
        <p:blipFill>
          <a:blip r:embed="rId3"/>
          <a:stretch>
            <a:fillRect/>
          </a:stretch>
        </p:blipFill>
        <p:spPr>
          <a:xfrm>
            <a:off x="726393" y="767333"/>
            <a:ext cx="2796775" cy="4082928"/>
          </a:xfrm>
          <a:prstGeom prst="rect">
            <a:avLst/>
          </a:prstGeom>
        </p:spPr>
      </p:pic>
      <p:sp>
        <p:nvSpPr>
          <p:cNvPr id="7" name="TextBox 6">
            <a:extLst>
              <a:ext uri="{FF2B5EF4-FFF2-40B4-BE49-F238E27FC236}">
                <a16:creationId xmlns:a16="http://schemas.microsoft.com/office/drawing/2014/main" id="{E62D0385-C241-35AF-C8FA-E62CB7ED415E}"/>
              </a:ext>
            </a:extLst>
          </p:cNvPr>
          <p:cNvSpPr txBox="1"/>
          <p:nvPr/>
        </p:nvSpPr>
        <p:spPr>
          <a:xfrm>
            <a:off x="179327" y="116250"/>
            <a:ext cx="8964673" cy="461665"/>
          </a:xfrm>
          <a:prstGeom prst="rect">
            <a:avLst/>
          </a:prstGeom>
          <a:noFill/>
        </p:spPr>
        <p:txBody>
          <a:bodyPr wrap="square" rtlCol="0">
            <a:spAutoFit/>
          </a:bodyPr>
          <a:lstStyle/>
          <a:p>
            <a:r>
              <a:rPr lang="en-US" sz="2400" b="1">
                <a:solidFill>
                  <a:schemeClr val="bg1"/>
                </a:solidFill>
                <a:latin typeface="DM Sans" pitchFamily="2" charset="77"/>
              </a:rPr>
              <a:t>Freight Value mean from State to Regions</a:t>
            </a:r>
          </a:p>
        </p:txBody>
      </p:sp>
      <p:sp>
        <p:nvSpPr>
          <p:cNvPr id="8" name="Rectangle 7">
            <a:extLst>
              <a:ext uri="{FF2B5EF4-FFF2-40B4-BE49-F238E27FC236}">
                <a16:creationId xmlns:a16="http://schemas.microsoft.com/office/drawing/2014/main" id="{B321D1E6-C245-960C-519F-73974A145734}"/>
              </a:ext>
            </a:extLst>
          </p:cNvPr>
          <p:cNvSpPr/>
          <p:nvPr/>
        </p:nvSpPr>
        <p:spPr>
          <a:xfrm>
            <a:off x="965200" y="4651829"/>
            <a:ext cx="2481943" cy="195942"/>
          </a:xfrm>
          <a:prstGeom prst="rect">
            <a:avLst/>
          </a:prstGeom>
          <a:noFill/>
          <a:ln w="254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E6B7603-9BC6-353F-B48A-9EBD79F47A42}"/>
              </a:ext>
            </a:extLst>
          </p:cNvPr>
          <p:cNvSpPr/>
          <p:nvPr/>
        </p:nvSpPr>
        <p:spPr>
          <a:xfrm>
            <a:off x="649386" y="3742192"/>
            <a:ext cx="2765387" cy="232774"/>
          </a:xfrm>
          <a:prstGeom prst="rect">
            <a:avLst/>
          </a:prstGeom>
          <a:noFill/>
          <a:ln w="254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60B9C79-A830-84A7-4870-46835916AFEF}"/>
              </a:ext>
            </a:extLst>
          </p:cNvPr>
          <p:cNvSpPr/>
          <p:nvPr/>
        </p:nvSpPr>
        <p:spPr>
          <a:xfrm>
            <a:off x="961396" y="2415668"/>
            <a:ext cx="2481943" cy="195942"/>
          </a:xfrm>
          <a:prstGeom prst="rect">
            <a:avLst/>
          </a:prstGeom>
          <a:noFill/>
          <a:ln w="254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oogle Shape;1193;p75">
            <a:extLst>
              <a:ext uri="{FF2B5EF4-FFF2-40B4-BE49-F238E27FC236}">
                <a16:creationId xmlns:a16="http://schemas.microsoft.com/office/drawing/2014/main" id="{BDD116D1-E90D-274E-BFF5-97D411FA1BDE}"/>
              </a:ext>
            </a:extLst>
          </p:cNvPr>
          <p:cNvGrpSpPr/>
          <p:nvPr/>
        </p:nvGrpSpPr>
        <p:grpSpPr>
          <a:xfrm>
            <a:off x="4744911" y="1345243"/>
            <a:ext cx="921959" cy="585018"/>
            <a:chOff x="2118065" y="3623741"/>
            <a:chExt cx="463340" cy="343644"/>
          </a:xfrm>
        </p:grpSpPr>
        <p:sp>
          <p:nvSpPr>
            <p:cNvPr id="13" name="Google Shape;1194;p75">
              <a:extLst>
                <a:ext uri="{FF2B5EF4-FFF2-40B4-BE49-F238E27FC236}">
                  <a16:creationId xmlns:a16="http://schemas.microsoft.com/office/drawing/2014/main" id="{DAEEF426-3DF7-694F-AF42-E7DA205697F5}"/>
                </a:ext>
              </a:extLst>
            </p:cNvPr>
            <p:cNvSpPr/>
            <p:nvPr/>
          </p:nvSpPr>
          <p:spPr>
            <a:xfrm>
              <a:off x="2118065" y="3737135"/>
              <a:ext cx="171362" cy="56021"/>
            </a:xfrm>
            <a:custGeom>
              <a:avLst/>
              <a:gdLst/>
              <a:ahLst/>
              <a:cxnLst/>
              <a:rect l="l" t="t" r="r" b="b"/>
              <a:pathLst>
                <a:path w="6335" h="2071" extrusionOk="0">
                  <a:moveTo>
                    <a:pt x="5451" y="2071"/>
                  </a:moveTo>
                  <a:lnTo>
                    <a:pt x="6334" y="1036"/>
                  </a:lnTo>
                  <a:lnTo>
                    <a:pt x="5451" y="1"/>
                  </a:lnTo>
                  <a:cubicBezTo>
                    <a:pt x="5389" y="206"/>
                    <a:pt x="5201" y="367"/>
                    <a:pt x="4969" y="367"/>
                  </a:cubicBezTo>
                  <a:lnTo>
                    <a:pt x="0" y="367"/>
                  </a:lnTo>
                  <a:lnTo>
                    <a:pt x="0" y="1705"/>
                  </a:lnTo>
                  <a:lnTo>
                    <a:pt x="4969" y="1705"/>
                  </a:lnTo>
                  <a:cubicBezTo>
                    <a:pt x="5201" y="1705"/>
                    <a:pt x="5398" y="1857"/>
                    <a:pt x="5451" y="207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4" name="Google Shape;1195;p75">
              <a:extLst>
                <a:ext uri="{FF2B5EF4-FFF2-40B4-BE49-F238E27FC236}">
                  <a16:creationId xmlns:a16="http://schemas.microsoft.com/office/drawing/2014/main" id="{2AEF64E0-A566-174B-8412-A0ED36433D45}"/>
                </a:ext>
              </a:extLst>
            </p:cNvPr>
            <p:cNvSpPr/>
            <p:nvPr/>
          </p:nvSpPr>
          <p:spPr>
            <a:xfrm>
              <a:off x="2118065" y="3623741"/>
              <a:ext cx="289354" cy="343400"/>
            </a:xfrm>
            <a:custGeom>
              <a:avLst/>
              <a:gdLst/>
              <a:ahLst/>
              <a:cxnLst/>
              <a:rect l="l" t="t" r="r" b="b"/>
              <a:pathLst>
                <a:path w="10697" h="12695" extrusionOk="0">
                  <a:moveTo>
                    <a:pt x="4175" y="11428"/>
                  </a:moveTo>
                  <a:cubicBezTo>
                    <a:pt x="3596" y="12008"/>
                    <a:pt x="2596" y="11597"/>
                    <a:pt x="2596" y="10777"/>
                  </a:cubicBezTo>
                  <a:cubicBezTo>
                    <a:pt x="2596" y="9956"/>
                    <a:pt x="3596" y="9546"/>
                    <a:pt x="4175" y="10125"/>
                  </a:cubicBezTo>
                  <a:cubicBezTo>
                    <a:pt x="4532" y="10482"/>
                    <a:pt x="4532" y="11071"/>
                    <a:pt x="4175" y="11428"/>
                  </a:cubicBezTo>
                  <a:close/>
                  <a:moveTo>
                    <a:pt x="10188" y="0"/>
                  </a:moveTo>
                  <a:lnTo>
                    <a:pt x="500" y="0"/>
                  </a:lnTo>
                  <a:cubicBezTo>
                    <a:pt x="223" y="0"/>
                    <a:pt x="0" y="223"/>
                    <a:pt x="0" y="500"/>
                  </a:cubicBezTo>
                  <a:lnTo>
                    <a:pt x="0" y="3551"/>
                  </a:lnTo>
                  <a:lnTo>
                    <a:pt x="4461" y="3551"/>
                  </a:lnTo>
                  <a:lnTo>
                    <a:pt x="4461" y="2864"/>
                  </a:lnTo>
                  <a:cubicBezTo>
                    <a:pt x="4461" y="2409"/>
                    <a:pt x="5041" y="2168"/>
                    <a:pt x="5362" y="2569"/>
                  </a:cubicBezTo>
                  <a:lnTo>
                    <a:pt x="7360" y="4916"/>
                  </a:lnTo>
                  <a:cubicBezTo>
                    <a:pt x="7521" y="5103"/>
                    <a:pt x="7512" y="5379"/>
                    <a:pt x="7351" y="5567"/>
                  </a:cubicBezTo>
                  <a:lnTo>
                    <a:pt x="5344" y="7931"/>
                  </a:lnTo>
                  <a:cubicBezTo>
                    <a:pt x="5041" y="8288"/>
                    <a:pt x="4461" y="8065"/>
                    <a:pt x="4461" y="7610"/>
                  </a:cubicBezTo>
                  <a:lnTo>
                    <a:pt x="4461" y="7610"/>
                  </a:lnTo>
                  <a:lnTo>
                    <a:pt x="4461" y="6905"/>
                  </a:lnTo>
                  <a:lnTo>
                    <a:pt x="0" y="6905"/>
                  </a:lnTo>
                  <a:lnTo>
                    <a:pt x="0" y="10661"/>
                  </a:lnTo>
                  <a:cubicBezTo>
                    <a:pt x="0" y="10937"/>
                    <a:pt x="223" y="11160"/>
                    <a:pt x="500" y="11160"/>
                  </a:cubicBezTo>
                  <a:lnTo>
                    <a:pt x="1651" y="11160"/>
                  </a:lnTo>
                  <a:cubicBezTo>
                    <a:pt x="1829" y="12043"/>
                    <a:pt x="2614" y="12695"/>
                    <a:pt x="3533" y="12695"/>
                  </a:cubicBezTo>
                  <a:cubicBezTo>
                    <a:pt x="4461" y="12695"/>
                    <a:pt x="5237" y="12043"/>
                    <a:pt x="5424" y="11160"/>
                  </a:cubicBezTo>
                  <a:lnTo>
                    <a:pt x="10188" y="11160"/>
                  </a:lnTo>
                  <a:cubicBezTo>
                    <a:pt x="10465" y="11160"/>
                    <a:pt x="10697" y="10937"/>
                    <a:pt x="10697" y="10661"/>
                  </a:cubicBezTo>
                  <a:lnTo>
                    <a:pt x="10697" y="500"/>
                  </a:lnTo>
                  <a:cubicBezTo>
                    <a:pt x="10697" y="223"/>
                    <a:pt x="10465" y="0"/>
                    <a:pt x="1018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5" name="Google Shape;1196;p75">
              <a:extLst>
                <a:ext uri="{FF2B5EF4-FFF2-40B4-BE49-F238E27FC236}">
                  <a16:creationId xmlns:a16="http://schemas.microsoft.com/office/drawing/2014/main" id="{B0088126-1D0C-D547-B3C5-087D228FD68B}"/>
                </a:ext>
              </a:extLst>
            </p:cNvPr>
            <p:cNvSpPr/>
            <p:nvPr/>
          </p:nvSpPr>
          <p:spPr>
            <a:xfrm>
              <a:off x="2434415" y="3694910"/>
              <a:ext cx="146990" cy="272475"/>
            </a:xfrm>
            <a:custGeom>
              <a:avLst/>
              <a:gdLst/>
              <a:ahLst/>
              <a:cxnLst/>
              <a:rect l="l" t="t" r="r" b="b"/>
              <a:pathLst>
                <a:path w="5434" h="10073" extrusionOk="0">
                  <a:moveTo>
                    <a:pt x="3373" y="8797"/>
                  </a:moveTo>
                  <a:cubicBezTo>
                    <a:pt x="3212" y="8966"/>
                    <a:pt x="2980" y="9064"/>
                    <a:pt x="2722" y="9064"/>
                  </a:cubicBezTo>
                  <a:cubicBezTo>
                    <a:pt x="2472" y="9064"/>
                    <a:pt x="2240" y="8966"/>
                    <a:pt x="2071" y="8797"/>
                  </a:cubicBezTo>
                  <a:cubicBezTo>
                    <a:pt x="1910" y="8627"/>
                    <a:pt x="1803" y="8395"/>
                    <a:pt x="1803" y="8146"/>
                  </a:cubicBezTo>
                  <a:cubicBezTo>
                    <a:pt x="1803" y="7887"/>
                    <a:pt x="1910" y="7655"/>
                    <a:pt x="2071" y="7494"/>
                  </a:cubicBezTo>
                  <a:cubicBezTo>
                    <a:pt x="2240" y="7325"/>
                    <a:pt x="2472" y="7218"/>
                    <a:pt x="2722" y="7218"/>
                  </a:cubicBezTo>
                  <a:cubicBezTo>
                    <a:pt x="2980" y="7218"/>
                    <a:pt x="3212" y="7325"/>
                    <a:pt x="3373" y="7494"/>
                  </a:cubicBezTo>
                  <a:cubicBezTo>
                    <a:pt x="3543" y="7655"/>
                    <a:pt x="3650" y="7887"/>
                    <a:pt x="3650" y="8146"/>
                  </a:cubicBezTo>
                  <a:cubicBezTo>
                    <a:pt x="3650" y="8395"/>
                    <a:pt x="3543" y="8627"/>
                    <a:pt x="3373" y="8797"/>
                  </a:cubicBezTo>
                  <a:close/>
                  <a:moveTo>
                    <a:pt x="4979" y="3899"/>
                  </a:moveTo>
                  <a:cubicBezTo>
                    <a:pt x="4702" y="3614"/>
                    <a:pt x="4319" y="3435"/>
                    <a:pt x="3890" y="3435"/>
                  </a:cubicBezTo>
                  <a:lnTo>
                    <a:pt x="3890" y="3435"/>
                  </a:lnTo>
                  <a:lnTo>
                    <a:pt x="1607" y="3435"/>
                  </a:lnTo>
                  <a:cubicBezTo>
                    <a:pt x="1348" y="3435"/>
                    <a:pt x="1116" y="3248"/>
                    <a:pt x="1089" y="2989"/>
                  </a:cubicBezTo>
                  <a:cubicBezTo>
                    <a:pt x="1062" y="2686"/>
                    <a:pt x="1294" y="2427"/>
                    <a:pt x="1589" y="2427"/>
                  </a:cubicBezTo>
                  <a:lnTo>
                    <a:pt x="3293" y="2427"/>
                  </a:lnTo>
                  <a:lnTo>
                    <a:pt x="2909" y="1776"/>
                  </a:lnTo>
                  <a:cubicBezTo>
                    <a:pt x="2561" y="1187"/>
                    <a:pt x="2088" y="723"/>
                    <a:pt x="1526" y="402"/>
                  </a:cubicBezTo>
                  <a:cubicBezTo>
                    <a:pt x="1250" y="242"/>
                    <a:pt x="946" y="117"/>
                    <a:pt x="625" y="36"/>
                  </a:cubicBezTo>
                  <a:cubicBezTo>
                    <a:pt x="474" y="1"/>
                    <a:pt x="322" y="28"/>
                    <a:pt x="197" y="126"/>
                  </a:cubicBezTo>
                  <a:cubicBezTo>
                    <a:pt x="72" y="224"/>
                    <a:pt x="1" y="367"/>
                    <a:pt x="1" y="527"/>
                  </a:cubicBezTo>
                  <a:lnTo>
                    <a:pt x="1" y="8030"/>
                  </a:lnTo>
                  <a:cubicBezTo>
                    <a:pt x="1" y="8306"/>
                    <a:pt x="233" y="8529"/>
                    <a:pt x="509" y="8529"/>
                  </a:cubicBezTo>
                  <a:lnTo>
                    <a:pt x="848" y="8529"/>
                  </a:lnTo>
                  <a:cubicBezTo>
                    <a:pt x="920" y="8904"/>
                    <a:pt x="1107" y="9243"/>
                    <a:pt x="1366" y="9511"/>
                  </a:cubicBezTo>
                  <a:cubicBezTo>
                    <a:pt x="1714" y="9858"/>
                    <a:pt x="2195" y="10073"/>
                    <a:pt x="2722" y="10073"/>
                  </a:cubicBezTo>
                  <a:cubicBezTo>
                    <a:pt x="3248" y="10073"/>
                    <a:pt x="3730" y="9858"/>
                    <a:pt x="4078" y="9511"/>
                  </a:cubicBezTo>
                  <a:cubicBezTo>
                    <a:pt x="4336" y="9243"/>
                    <a:pt x="4524" y="8904"/>
                    <a:pt x="4604" y="8529"/>
                  </a:cubicBezTo>
                  <a:lnTo>
                    <a:pt x="4934" y="8529"/>
                  </a:lnTo>
                  <a:cubicBezTo>
                    <a:pt x="5211" y="8529"/>
                    <a:pt x="5434" y="8306"/>
                    <a:pt x="5434" y="8030"/>
                  </a:cubicBezTo>
                  <a:lnTo>
                    <a:pt x="5434" y="5005"/>
                  </a:lnTo>
                  <a:cubicBezTo>
                    <a:pt x="5434" y="4577"/>
                    <a:pt x="5264" y="4185"/>
                    <a:pt x="4979" y="3899"/>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pic>
        <p:nvPicPr>
          <p:cNvPr id="16" name="Graphic 15" descr="Cruise ship with solid fill">
            <a:extLst>
              <a:ext uri="{FF2B5EF4-FFF2-40B4-BE49-F238E27FC236}">
                <a16:creationId xmlns:a16="http://schemas.microsoft.com/office/drawing/2014/main" id="{54A19125-1057-3D47-A528-E77E753543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2919" y="3049045"/>
            <a:ext cx="1085669" cy="1085669"/>
          </a:xfrm>
          <a:prstGeom prst="rect">
            <a:avLst/>
          </a:prstGeom>
        </p:spPr>
      </p:pic>
      <p:pic>
        <p:nvPicPr>
          <p:cNvPr id="19" name="Graphic 18" descr="Airplane with solid fill">
            <a:extLst>
              <a:ext uri="{FF2B5EF4-FFF2-40B4-BE49-F238E27FC236}">
                <a16:creationId xmlns:a16="http://schemas.microsoft.com/office/drawing/2014/main" id="{6C6E08C2-92D0-074E-DEA0-1B8AC482D0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7003063" y="3076550"/>
            <a:ext cx="984799" cy="984799"/>
          </a:xfrm>
          <a:prstGeom prst="rect">
            <a:avLst/>
          </a:prstGeom>
        </p:spPr>
      </p:pic>
      <p:pic>
        <p:nvPicPr>
          <p:cNvPr id="21" name="Graphic 20" descr="Train with solid fill">
            <a:extLst>
              <a:ext uri="{FF2B5EF4-FFF2-40B4-BE49-F238E27FC236}">
                <a16:creationId xmlns:a16="http://schemas.microsoft.com/office/drawing/2014/main" id="{34998D24-141C-4E4D-5B31-CFCE47249B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53067" y="1234512"/>
            <a:ext cx="907472" cy="907472"/>
          </a:xfrm>
          <a:prstGeom prst="rect">
            <a:avLst/>
          </a:prstGeom>
        </p:spPr>
      </p:pic>
    </p:spTree>
    <p:extLst>
      <p:ext uri="{BB962C8B-B14F-4D97-AF65-F5344CB8AC3E}">
        <p14:creationId xmlns:p14="http://schemas.microsoft.com/office/powerpoint/2010/main" val="1729623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93759F4-B1E8-3DB3-11FB-1FE654484917}"/>
              </a:ext>
            </a:extLst>
          </p:cNvPr>
          <p:cNvPicPr>
            <a:picLocks noChangeAspect="1"/>
          </p:cNvPicPr>
          <p:nvPr/>
        </p:nvPicPr>
        <p:blipFill>
          <a:blip r:embed="rId2"/>
          <a:stretch>
            <a:fillRect/>
          </a:stretch>
        </p:blipFill>
        <p:spPr>
          <a:xfrm>
            <a:off x="4892405" y="564469"/>
            <a:ext cx="3344920" cy="2480878"/>
          </a:xfrm>
          <a:prstGeom prst="rect">
            <a:avLst/>
          </a:prstGeom>
        </p:spPr>
      </p:pic>
      <p:pic>
        <p:nvPicPr>
          <p:cNvPr id="11" name="Picture 10">
            <a:extLst>
              <a:ext uri="{FF2B5EF4-FFF2-40B4-BE49-F238E27FC236}">
                <a16:creationId xmlns:a16="http://schemas.microsoft.com/office/drawing/2014/main" id="{EA1687B2-EA77-44AD-CC5F-CFE2363F51DE}"/>
              </a:ext>
            </a:extLst>
          </p:cNvPr>
          <p:cNvPicPr>
            <a:picLocks noChangeAspect="1"/>
          </p:cNvPicPr>
          <p:nvPr/>
        </p:nvPicPr>
        <p:blipFill>
          <a:blip r:embed="rId3"/>
          <a:stretch>
            <a:fillRect/>
          </a:stretch>
        </p:blipFill>
        <p:spPr>
          <a:xfrm>
            <a:off x="535703" y="3408413"/>
            <a:ext cx="3590247" cy="1569215"/>
          </a:xfrm>
          <a:prstGeom prst="rect">
            <a:avLst/>
          </a:prstGeom>
        </p:spPr>
      </p:pic>
      <p:pic>
        <p:nvPicPr>
          <p:cNvPr id="13" name="Picture 12">
            <a:extLst>
              <a:ext uri="{FF2B5EF4-FFF2-40B4-BE49-F238E27FC236}">
                <a16:creationId xmlns:a16="http://schemas.microsoft.com/office/drawing/2014/main" id="{F2E57421-9B92-DBB2-AD3E-8E0817CED134}"/>
              </a:ext>
            </a:extLst>
          </p:cNvPr>
          <p:cNvPicPr>
            <a:picLocks noChangeAspect="1"/>
          </p:cNvPicPr>
          <p:nvPr/>
        </p:nvPicPr>
        <p:blipFill>
          <a:blip r:embed="rId4"/>
          <a:stretch>
            <a:fillRect/>
          </a:stretch>
        </p:blipFill>
        <p:spPr>
          <a:xfrm>
            <a:off x="636065" y="281738"/>
            <a:ext cx="3225240" cy="2906698"/>
          </a:xfrm>
          <a:prstGeom prst="rect">
            <a:avLst/>
          </a:prstGeom>
        </p:spPr>
      </p:pic>
    </p:spTree>
    <p:extLst>
      <p:ext uri="{BB962C8B-B14F-4D97-AF65-F5344CB8AC3E}">
        <p14:creationId xmlns:p14="http://schemas.microsoft.com/office/powerpoint/2010/main" val="29825197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omparison of a diagram&#10;&#10;Description automatically generated with medium confidence">
            <a:extLst>
              <a:ext uri="{FF2B5EF4-FFF2-40B4-BE49-F238E27FC236}">
                <a16:creationId xmlns:a16="http://schemas.microsoft.com/office/drawing/2014/main" id="{A1B0406C-A07E-930C-23EE-B4B533913BFE}"/>
              </a:ext>
            </a:extLst>
          </p:cNvPr>
          <p:cNvPicPr>
            <a:picLocks noChangeAspect="1"/>
          </p:cNvPicPr>
          <p:nvPr/>
        </p:nvPicPr>
        <p:blipFill>
          <a:blip r:embed="rId2"/>
          <a:stretch>
            <a:fillRect/>
          </a:stretch>
        </p:blipFill>
        <p:spPr>
          <a:xfrm>
            <a:off x="850392" y="1499280"/>
            <a:ext cx="7772400" cy="3276600"/>
          </a:xfrm>
          <a:prstGeom prst="rect">
            <a:avLst/>
          </a:prstGeom>
        </p:spPr>
      </p:pic>
      <p:sp>
        <p:nvSpPr>
          <p:cNvPr id="5" name="TextBox 4">
            <a:extLst>
              <a:ext uri="{FF2B5EF4-FFF2-40B4-BE49-F238E27FC236}">
                <a16:creationId xmlns:a16="http://schemas.microsoft.com/office/drawing/2014/main" id="{D43545AB-1174-5C4B-9849-2B6FB30BC529}"/>
              </a:ext>
            </a:extLst>
          </p:cNvPr>
          <p:cNvSpPr txBox="1"/>
          <p:nvPr/>
        </p:nvSpPr>
        <p:spPr>
          <a:xfrm>
            <a:off x="1152144" y="210312"/>
            <a:ext cx="7141464" cy="1154162"/>
          </a:xfrm>
          <a:prstGeom prst="rect">
            <a:avLst/>
          </a:prstGeom>
          <a:noFill/>
        </p:spPr>
        <p:txBody>
          <a:bodyPr wrap="square" rtlCol="0">
            <a:spAutoFit/>
          </a:bodyPr>
          <a:lstStyle/>
          <a:p>
            <a:r>
              <a:rPr lang="en-US" sz="1100" b="0">
                <a:solidFill>
                  <a:schemeClr val="bg1"/>
                </a:solidFill>
                <a:effectLst/>
                <a:latin typeface="Menlo" panose="020B0609030804020204" pitchFamily="49" charset="0"/>
              </a:rPr>
              <a:t>We can see that the most common state of CUSTOMERS is SP(42.19%), followed by RJ(13.02%) and MG(11.6%).</a:t>
            </a:r>
          </a:p>
          <a:p>
            <a:r>
              <a:rPr lang="en-US" sz="1100" b="0">
                <a:solidFill>
                  <a:schemeClr val="bg1"/>
                </a:solidFill>
                <a:effectLst/>
                <a:latin typeface="Menlo" panose="020B0609030804020204" pitchFamily="49" charset="0"/>
              </a:rPr>
              <a:t>All this states is from the southeast region of Brazil. Also, we have many sales to RS, PR, </a:t>
            </a:r>
          </a:p>
          <a:p>
            <a:r>
              <a:rPr lang="en-US" sz="1100" b="0">
                <a:solidFill>
                  <a:schemeClr val="bg1"/>
                </a:solidFill>
                <a:effectLst/>
                <a:latin typeface="Menlo" panose="020B0609030804020204" pitchFamily="49" charset="0"/>
              </a:rPr>
              <a:t>SC (states from south region)</a:t>
            </a:r>
          </a:p>
          <a:p>
            <a:endParaRPr lang="en-US"/>
          </a:p>
        </p:txBody>
      </p:sp>
    </p:spTree>
    <p:extLst>
      <p:ext uri="{BB962C8B-B14F-4D97-AF65-F5344CB8AC3E}">
        <p14:creationId xmlns:p14="http://schemas.microsoft.com/office/powerpoint/2010/main" val="14770159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225795B-0FA5-9FC7-8AC1-2FB7DD69BFA3}"/>
              </a:ext>
            </a:extLst>
          </p:cNvPr>
          <p:cNvSpPr txBox="1"/>
          <p:nvPr/>
        </p:nvSpPr>
        <p:spPr>
          <a:xfrm>
            <a:off x="284084" y="794483"/>
            <a:ext cx="4121161" cy="307777"/>
          </a:xfrm>
          <a:prstGeom prst="rect">
            <a:avLst/>
          </a:prstGeom>
          <a:noFill/>
        </p:spPr>
        <p:txBody>
          <a:bodyPr wrap="square" rtlCol="0">
            <a:spAutoFit/>
          </a:bodyPr>
          <a:lstStyle/>
          <a:p>
            <a:r>
              <a:rPr lang="en-US" b="1">
                <a:solidFill>
                  <a:schemeClr val="bg1"/>
                </a:solidFill>
              </a:rPr>
              <a:t>Payment Type Distribution with Value Labeled </a:t>
            </a:r>
          </a:p>
        </p:txBody>
      </p:sp>
      <p:pic>
        <p:nvPicPr>
          <p:cNvPr id="11" name="Picture 2">
            <a:extLst>
              <a:ext uri="{FF2B5EF4-FFF2-40B4-BE49-F238E27FC236}">
                <a16:creationId xmlns:a16="http://schemas.microsoft.com/office/drawing/2014/main" id="{51A9490A-EC18-459F-63E2-AC62793F2D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1465"/>
          <a:stretch/>
        </p:blipFill>
        <p:spPr bwMode="auto">
          <a:xfrm>
            <a:off x="5445207" y="404301"/>
            <a:ext cx="2800228" cy="202082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CE3AE05D-D0F7-CD4C-88D8-14FCAFC802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480"/>
          <a:stretch/>
        </p:blipFill>
        <p:spPr bwMode="auto">
          <a:xfrm>
            <a:off x="5445206" y="2921210"/>
            <a:ext cx="2851351" cy="205837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3CC05E35-A8D4-AEC4-E0CA-80E273CED7E0}"/>
              </a:ext>
            </a:extLst>
          </p:cNvPr>
          <p:cNvSpPr txBox="1"/>
          <p:nvPr/>
        </p:nvSpPr>
        <p:spPr>
          <a:xfrm>
            <a:off x="5726220" y="96524"/>
            <a:ext cx="2238203" cy="307777"/>
          </a:xfrm>
          <a:prstGeom prst="rect">
            <a:avLst/>
          </a:prstGeom>
          <a:noFill/>
        </p:spPr>
        <p:txBody>
          <a:bodyPr wrap="square" rtlCol="0">
            <a:spAutoFit/>
          </a:bodyPr>
          <a:lstStyle/>
          <a:p>
            <a:r>
              <a:rPr lang="en-US" b="1">
                <a:solidFill>
                  <a:schemeClr val="bg1"/>
                </a:solidFill>
              </a:rPr>
              <a:t>Orders by Day of Week</a:t>
            </a:r>
          </a:p>
        </p:txBody>
      </p:sp>
      <p:sp>
        <p:nvSpPr>
          <p:cNvPr id="14" name="TextBox 13">
            <a:extLst>
              <a:ext uri="{FF2B5EF4-FFF2-40B4-BE49-F238E27FC236}">
                <a16:creationId xmlns:a16="http://schemas.microsoft.com/office/drawing/2014/main" id="{9074A64F-EE19-38F9-0996-781677054DED}"/>
              </a:ext>
            </a:extLst>
          </p:cNvPr>
          <p:cNvSpPr txBox="1"/>
          <p:nvPr/>
        </p:nvSpPr>
        <p:spPr>
          <a:xfrm>
            <a:off x="5878461" y="2579013"/>
            <a:ext cx="2095445" cy="307777"/>
          </a:xfrm>
          <a:prstGeom prst="rect">
            <a:avLst/>
          </a:prstGeom>
          <a:noFill/>
        </p:spPr>
        <p:txBody>
          <a:bodyPr wrap="none" rtlCol="0">
            <a:spAutoFit/>
          </a:bodyPr>
          <a:lstStyle/>
          <a:p>
            <a:r>
              <a:rPr lang="en-US" b="1">
                <a:solidFill>
                  <a:schemeClr val="bg1"/>
                </a:solidFill>
              </a:rPr>
              <a:t>Orders by Time of Day</a:t>
            </a:r>
          </a:p>
        </p:txBody>
      </p:sp>
      <p:sp>
        <p:nvSpPr>
          <p:cNvPr id="16" name="Rectangle 15">
            <a:extLst>
              <a:ext uri="{FF2B5EF4-FFF2-40B4-BE49-F238E27FC236}">
                <a16:creationId xmlns:a16="http://schemas.microsoft.com/office/drawing/2014/main" id="{8A9E72FD-7C54-09A1-1DB6-8EE29734E14D}"/>
              </a:ext>
            </a:extLst>
          </p:cNvPr>
          <p:cNvSpPr/>
          <p:nvPr/>
        </p:nvSpPr>
        <p:spPr>
          <a:xfrm>
            <a:off x="5999860" y="404301"/>
            <a:ext cx="369948" cy="2020824"/>
          </a:xfrm>
          <a:prstGeom prst="rect">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B1C08AC-3DB8-94B4-0317-9D7E2FEFEAEF}"/>
              </a:ext>
            </a:extLst>
          </p:cNvPr>
          <p:cNvSpPr/>
          <p:nvPr/>
        </p:nvSpPr>
        <p:spPr>
          <a:xfrm>
            <a:off x="6975916" y="2939984"/>
            <a:ext cx="601457" cy="2020824"/>
          </a:xfrm>
          <a:prstGeom prst="rect">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close-up of a graph&#10;&#10;Description automatically generated">
            <a:extLst>
              <a:ext uri="{FF2B5EF4-FFF2-40B4-BE49-F238E27FC236}">
                <a16:creationId xmlns:a16="http://schemas.microsoft.com/office/drawing/2014/main" id="{129D4194-4502-B946-BADF-E0EBAC69C07F}"/>
              </a:ext>
            </a:extLst>
          </p:cNvPr>
          <p:cNvPicPr>
            <a:picLocks noChangeAspect="1"/>
          </p:cNvPicPr>
          <p:nvPr/>
        </p:nvPicPr>
        <p:blipFill rotWithShape="1">
          <a:blip r:embed="rId4"/>
          <a:srcRect l="6474" t="13127" r="45699"/>
          <a:stretch/>
        </p:blipFill>
        <p:spPr>
          <a:xfrm>
            <a:off x="334135" y="1132775"/>
            <a:ext cx="3696943" cy="3186570"/>
          </a:xfrm>
          <a:prstGeom prst="rect">
            <a:avLst/>
          </a:prstGeom>
        </p:spPr>
      </p:pic>
      <p:grpSp>
        <p:nvGrpSpPr>
          <p:cNvPr id="15" name="Google Shape;1106;p75">
            <a:extLst>
              <a:ext uri="{FF2B5EF4-FFF2-40B4-BE49-F238E27FC236}">
                <a16:creationId xmlns:a16="http://schemas.microsoft.com/office/drawing/2014/main" id="{27330FC5-4C7B-CA4D-B7EC-853F309F876C}"/>
              </a:ext>
            </a:extLst>
          </p:cNvPr>
          <p:cNvGrpSpPr/>
          <p:nvPr/>
        </p:nvGrpSpPr>
        <p:grpSpPr>
          <a:xfrm>
            <a:off x="1484852" y="2865394"/>
            <a:ext cx="463826" cy="464800"/>
            <a:chOff x="1484852" y="3017794"/>
            <a:chExt cx="463826" cy="464800"/>
          </a:xfrm>
        </p:grpSpPr>
        <p:sp>
          <p:nvSpPr>
            <p:cNvPr id="19" name="Google Shape;1107;p75">
              <a:extLst>
                <a:ext uri="{FF2B5EF4-FFF2-40B4-BE49-F238E27FC236}">
                  <a16:creationId xmlns:a16="http://schemas.microsoft.com/office/drawing/2014/main" id="{2D5ACBD9-9417-2D49-BBCF-4B729EFCD58E}"/>
                </a:ext>
              </a:extLst>
            </p:cNvPr>
            <p:cNvSpPr/>
            <p:nvPr/>
          </p:nvSpPr>
          <p:spPr>
            <a:xfrm>
              <a:off x="1608416" y="3017794"/>
              <a:ext cx="76038" cy="54316"/>
            </a:xfrm>
            <a:custGeom>
              <a:avLst/>
              <a:gdLst/>
              <a:ahLst/>
              <a:cxnLst/>
              <a:rect l="l" t="t" r="r" b="b"/>
              <a:pathLst>
                <a:path w="2811" h="2008" extrusionOk="0">
                  <a:moveTo>
                    <a:pt x="1633" y="1410"/>
                  </a:moveTo>
                  <a:lnTo>
                    <a:pt x="2810" y="2008"/>
                  </a:lnTo>
                  <a:lnTo>
                    <a:pt x="2810" y="0"/>
                  </a:lnTo>
                  <a:lnTo>
                    <a:pt x="0" y="0"/>
                  </a:lnTo>
                  <a:lnTo>
                    <a:pt x="0" y="2008"/>
                  </a:lnTo>
                  <a:lnTo>
                    <a:pt x="1178" y="1410"/>
                  </a:lnTo>
                  <a:cubicBezTo>
                    <a:pt x="1312" y="1339"/>
                    <a:pt x="1481" y="1339"/>
                    <a:pt x="1633" y="141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0" name="Google Shape;1108;p75">
              <a:extLst>
                <a:ext uri="{FF2B5EF4-FFF2-40B4-BE49-F238E27FC236}">
                  <a16:creationId xmlns:a16="http://schemas.microsoft.com/office/drawing/2014/main" id="{8744508C-9889-4D4C-9481-FE770F646835}"/>
                </a:ext>
              </a:extLst>
            </p:cNvPr>
            <p:cNvSpPr/>
            <p:nvPr/>
          </p:nvSpPr>
          <p:spPr>
            <a:xfrm>
              <a:off x="1484852" y="3017794"/>
              <a:ext cx="322896" cy="322896"/>
            </a:xfrm>
            <a:custGeom>
              <a:avLst/>
              <a:gdLst/>
              <a:ahLst/>
              <a:cxnLst/>
              <a:rect l="l" t="t" r="r" b="b"/>
              <a:pathLst>
                <a:path w="11937" h="11937" extrusionOk="0">
                  <a:moveTo>
                    <a:pt x="11937" y="4711"/>
                  </a:moveTo>
                  <a:lnTo>
                    <a:pt x="11937" y="509"/>
                  </a:lnTo>
                  <a:cubicBezTo>
                    <a:pt x="11937" y="223"/>
                    <a:pt x="11714" y="0"/>
                    <a:pt x="11437" y="0"/>
                  </a:cubicBezTo>
                  <a:lnTo>
                    <a:pt x="8386" y="0"/>
                  </a:lnTo>
                  <a:lnTo>
                    <a:pt x="8386" y="2828"/>
                  </a:lnTo>
                  <a:cubicBezTo>
                    <a:pt x="8386" y="3185"/>
                    <a:pt x="8003" y="3462"/>
                    <a:pt x="7619" y="3257"/>
                  </a:cubicBezTo>
                  <a:lnTo>
                    <a:pt x="5969" y="2427"/>
                  </a:lnTo>
                  <a:lnTo>
                    <a:pt x="4292" y="3274"/>
                  </a:lnTo>
                  <a:cubicBezTo>
                    <a:pt x="3953" y="3444"/>
                    <a:pt x="3560" y="3194"/>
                    <a:pt x="3560" y="2828"/>
                  </a:cubicBezTo>
                  <a:lnTo>
                    <a:pt x="3560" y="0"/>
                  </a:lnTo>
                  <a:lnTo>
                    <a:pt x="509" y="0"/>
                  </a:lnTo>
                  <a:cubicBezTo>
                    <a:pt x="232" y="0"/>
                    <a:pt x="1" y="223"/>
                    <a:pt x="1" y="509"/>
                  </a:cubicBezTo>
                  <a:lnTo>
                    <a:pt x="1" y="11437"/>
                  </a:lnTo>
                  <a:cubicBezTo>
                    <a:pt x="1" y="11714"/>
                    <a:pt x="232" y="11937"/>
                    <a:pt x="509" y="11937"/>
                  </a:cubicBezTo>
                  <a:lnTo>
                    <a:pt x="4720" y="11937"/>
                  </a:lnTo>
                  <a:cubicBezTo>
                    <a:pt x="4639" y="10866"/>
                    <a:pt x="4809" y="9822"/>
                    <a:pt x="5210" y="8859"/>
                  </a:cubicBezTo>
                  <a:cubicBezTo>
                    <a:pt x="6326" y="6174"/>
                    <a:pt x="9029" y="4497"/>
                    <a:pt x="11937" y="471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1" name="Google Shape;1109;p75">
              <a:extLst>
                <a:ext uri="{FF2B5EF4-FFF2-40B4-BE49-F238E27FC236}">
                  <a16:creationId xmlns:a16="http://schemas.microsoft.com/office/drawing/2014/main" id="{F2012374-8F9C-B740-B8C6-F9A0EFF111B3}"/>
                </a:ext>
              </a:extLst>
            </p:cNvPr>
            <p:cNvSpPr/>
            <p:nvPr/>
          </p:nvSpPr>
          <p:spPr>
            <a:xfrm>
              <a:off x="1639767" y="3173440"/>
              <a:ext cx="308911" cy="309154"/>
            </a:xfrm>
            <a:custGeom>
              <a:avLst/>
              <a:gdLst/>
              <a:ahLst/>
              <a:cxnLst/>
              <a:rect l="l" t="t" r="r" b="b"/>
              <a:pathLst>
                <a:path w="11420" h="11429" extrusionOk="0">
                  <a:moveTo>
                    <a:pt x="7753" y="4372"/>
                  </a:moveTo>
                  <a:lnTo>
                    <a:pt x="6817" y="5300"/>
                  </a:lnTo>
                  <a:cubicBezTo>
                    <a:pt x="7147" y="6236"/>
                    <a:pt x="6246" y="7137"/>
                    <a:pt x="5318" y="6807"/>
                  </a:cubicBezTo>
                  <a:lnTo>
                    <a:pt x="5139" y="6986"/>
                  </a:lnTo>
                  <a:cubicBezTo>
                    <a:pt x="4943" y="7182"/>
                    <a:pt x="4622" y="7182"/>
                    <a:pt x="4426" y="6986"/>
                  </a:cubicBezTo>
                  <a:cubicBezTo>
                    <a:pt x="4229" y="6789"/>
                    <a:pt x="4229" y="6468"/>
                    <a:pt x="4426" y="6272"/>
                  </a:cubicBezTo>
                  <a:lnTo>
                    <a:pt x="4604" y="6094"/>
                  </a:lnTo>
                  <a:cubicBezTo>
                    <a:pt x="4336" y="5335"/>
                    <a:pt x="4898" y="4523"/>
                    <a:pt x="5710" y="4523"/>
                  </a:cubicBezTo>
                  <a:cubicBezTo>
                    <a:pt x="5853" y="4523"/>
                    <a:pt x="5987" y="4550"/>
                    <a:pt x="6103" y="4595"/>
                  </a:cubicBezTo>
                  <a:lnTo>
                    <a:pt x="7040" y="3658"/>
                  </a:lnTo>
                  <a:cubicBezTo>
                    <a:pt x="7236" y="3462"/>
                    <a:pt x="7557" y="3462"/>
                    <a:pt x="7753" y="3658"/>
                  </a:cubicBezTo>
                  <a:cubicBezTo>
                    <a:pt x="7949" y="3854"/>
                    <a:pt x="7949" y="4176"/>
                    <a:pt x="7753" y="4372"/>
                  </a:cubicBezTo>
                  <a:close/>
                  <a:moveTo>
                    <a:pt x="9118" y="8404"/>
                  </a:moveTo>
                  <a:lnTo>
                    <a:pt x="10099" y="9394"/>
                  </a:lnTo>
                  <a:cubicBezTo>
                    <a:pt x="10840" y="8520"/>
                    <a:pt x="11313" y="7423"/>
                    <a:pt x="11420" y="6218"/>
                  </a:cubicBezTo>
                  <a:lnTo>
                    <a:pt x="10037" y="6218"/>
                  </a:lnTo>
                  <a:cubicBezTo>
                    <a:pt x="9778" y="6218"/>
                    <a:pt x="9546" y="6031"/>
                    <a:pt x="9520" y="5772"/>
                  </a:cubicBezTo>
                  <a:cubicBezTo>
                    <a:pt x="9493" y="5469"/>
                    <a:pt x="9725" y="5210"/>
                    <a:pt x="10019" y="5210"/>
                  </a:cubicBezTo>
                  <a:lnTo>
                    <a:pt x="11420" y="5210"/>
                  </a:lnTo>
                  <a:cubicBezTo>
                    <a:pt x="11313" y="4006"/>
                    <a:pt x="10840" y="2909"/>
                    <a:pt x="10099" y="2034"/>
                  </a:cubicBezTo>
                  <a:lnTo>
                    <a:pt x="9118" y="3025"/>
                  </a:lnTo>
                  <a:cubicBezTo>
                    <a:pt x="8922" y="3221"/>
                    <a:pt x="8601" y="3221"/>
                    <a:pt x="8404" y="3025"/>
                  </a:cubicBezTo>
                  <a:cubicBezTo>
                    <a:pt x="8208" y="2828"/>
                    <a:pt x="8208" y="2507"/>
                    <a:pt x="8404" y="2311"/>
                  </a:cubicBezTo>
                  <a:lnTo>
                    <a:pt x="9395" y="1321"/>
                  </a:lnTo>
                  <a:cubicBezTo>
                    <a:pt x="8520" y="589"/>
                    <a:pt x="7414" y="108"/>
                    <a:pt x="6210" y="0"/>
                  </a:cubicBezTo>
                  <a:lnTo>
                    <a:pt x="6210" y="1392"/>
                  </a:lnTo>
                  <a:cubicBezTo>
                    <a:pt x="6210" y="1651"/>
                    <a:pt x="6023" y="1874"/>
                    <a:pt x="5764" y="1901"/>
                  </a:cubicBezTo>
                  <a:cubicBezTo>
                    <a:pt x="5461" y="1936"/>
                    <a:pt x="5211" y="1695"/>
                    <a:pt x="5211" y="1401"/>
                  </a:cubicBezTo>
                  <a:lnTo>
                    <a:pt x="5211" y="0"/>
                  </a:lnTo>
                  <a:cubicBezTo>
                    <a:pt x="3997" y="108"/>
                    <a:pt x="2900" y="589"/>
                    <a:pt x="2026" y="1321"/>
                  </a:cubicBezTo>
                  <a:lnTo>
                    <a:pt x="3016" y="2311"/>
                  </a:lnTo>
                  <a:cubicBezTo>
                    <a:pt x="3212" y="2507"/>
                    <a:pt x="3212" y="2828"/>
                    <a:pt x="3016" y="3025"/>
                  </a:cubicBezTo>
                  <a:cubicBezTo>
                    <a:pt x="2820" y="3221"/>
                    <a:pt x="2499" y="3221"/>
                    <a:pt x="2302" y="3025"/>
                  </a:cubicBezTo>
                  <a:lnTo>
                    <a:pt x="1312" y="2034"/>
                  </a:lnTo>
                  <a:cubicBezTo>
                    <a:pt x="581" y="2909"/>
                    <a:pt x="108" y="4006"/>
                    <a:pt x="1" y="5210"/>
                  </a:cubicBezTo>
                  <a:lnTo>
                    <a:pt x="1384" y="5210"/>
                  </a:lnTo>
                  <a:cubicBezTo>
                    <a:pt x="1642" y="5210"/>
                    <a:pt x="1865" y="5398"/>
                    <a:pt x="1901" y="5656"/>
                  </a:cubicBezTo>
                  <a:cubicBezTo>
                    <a:pt x="1928" y="5960"/>
                    <a:pt x="1696" y="6218"/>
                    <a:pt x="1401" y="6218"/>
                  </a:cubicBezTo>
                  <a:lnTo>
                    <a:pt x="1" y="6218"/>
                  </a:lnTo>
                  <a:cubicBezTo>
                    <a:pt x="108" y="7423"/>
                    <a:pt x="581" y="8520"/>
                    <a:pt x="1312" y="9394"/>
                  </a:cubicBezTo>
                  <a:lnTo>
                    <a:pt x="2302" y="8404"/>
                  </a:lnTo>
                  <a:cubicBezTo>
                    <a:pt x="2499" y="8208"/>
                    <a:pt x="2820" y="8208"/>
                    <a:pt x="3016" y="8404"/>
                  </a:cubicBezTo>
                  <a:cubicBezTo>
                    <a:pt x="3212" y="8600"/>
                    <a:pt x="3212" y="8921"/>
                    <a:pt x="3016" y="9118"/>
                  </a:cubicBezTo>
                  <a:lnTo>
                    <a:pt x="2026" y="10108"/>
                  </a:lnTo>
                  <a:cubicBezTo>
                    <a:pt x="2900" y="10840"/>
                    <a:pt x="3997" y="11321"/>
                    <a:pt x="5211" y="11428"/>
                  </a:cubicBezTo>
                  <a:lnTo>
                    <a:pt x="5211" y="10037"/>
                  </a:lnTo>
                  <a:cubicBezTo>
                    <a:pt x="5211" y="9778"/>
                    <a:pt x="5398" y="9555"/>
                    <a:pt x="5657" y="9528"/>
                  </a:cubicBezTo>
                  <a:cubicBezTo>
                    <a:pt x="5960" y="9492"/>
                    <a:pt x="6210" y="9733"/>
                    <a:pt x="6210" y="10028"/>
                  </a:cubicBezTo>
                  <a:lnTo>
                    <a:pt x="6210" y="11428"/>
                  </a:lnTo>
                  <a:cubicBezTo>
                    <a:pt x="7414" y="11321"/>
                    <a:pt x="8520" y="10840"/>
                    <a:pt x="9395" y="10108"/>
                  </a:cubicBezTo>
                  <a:lnTo>
                    <a:pt x="8404" y="9118"/>
                  </a:lnTo>
                  <a:cubicBezTo>
                    <a:pt x="8208" y="8921"/>
                    <a:pt x="8208" y="8600"/>
                    <a:pt x="8404" y="8404"/>
                  </a:cubicBezTo>
                  <a:cubicBezTo>
                    <a:pt x="8601" y="8208"/>
                    <a:pt x="8922" y="8208"/>
                    <a:pt x="9118" y="8404"/>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spTree>
    <p:extLst>
      <p:ext uri="{BB962C8B-B14F-4D97-AF65-F5344CB8AC3E}">
        <p14:creationId xmlns:p14="http://schemas.microsoft.com/office/powerpoint/2010/main" val="3506071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11C31E-DD61-D9F9-E153-CFE58847777C}"/>
              </a:ext>
            </a:extLst>
          </p:cNvPr>
          <p:cNvGraphicFramePr>
            <a:graphicFrameLocks noChangeAspect="1"/>
          </p:cNvGraphicFramePr>
          <p:nvPr>
            <p:custDataLst>
              <p:tags r:id="rId1"/>
            </p:custDataLst>
            <p:extLst>
              <p:ext uri="{D42A27DB-BD31-4B8C-83A1-F6EECF244321}">
                <p14:modId xmlns:p14="http://schemas.microsoft.com/office/powerpoint/2010/main" val="2730456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4011C31E-DD61-D9F9-E153-CFE5884777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3" name="Google Shape;233;p43"/>
          <p:cNvSpPr txBox="1">
            <a:spLocks noGrp="1"/>
          </p:cNvSpPr>
          <p:nvPr>
            <p:ph type="title"/>
          </p:nvPr>
        </p:nvSpPr>
        <p:spPr>
          <a:xfrm>
            <a:off x="360951" y="2379363"/>
            <a:ext cx="5255247" cy="2037034"/>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3600"/>
              <a:t>Executive</a:t>
            </a:r>
            <a:r>
              <a:rPr lang="zh-CN" altLang="en-US" sz="3600"/>
              <a:t> </a:t>
            </a:r>
            <a:r>
              <a:rPr lang="en-US" altLang="zh-CN" sz="3600"/>
              <a:t>Summary</a:t>
            </a:r>
            <a:r>
              <a:rPr lang="zh-CN" altLang="en-US" sz="3600"/>
              <a:t> </a:t>
            </a:r>
            <a:r>
              <a:rPr lang="en-US" altLang="zh-CN" sz="3600"/>
              <a:t>&amp;</a:t>
            </a:r>
            <a:r>
              <a:rPr lang="zh-CN" altLang="en-US" sz="3600"/>
              <a:t> </a:t>
            </a:r>
            <a:r>
              <a:rPr lang="en-US" altLang="zh-CN" sz="3600"/>
              <a:t>Research</a:t>
            </a:r>
            <a:r>
              <a:rPr lang="zh-CN" altLang="en-US" sz="3600"/>
              <a:t> </a:t>
            </a:r>
            <a:r>
              <a:rPr lang="en-US" altLang="zh-CN" sz="3600"/>
              <a:t>Objectives</a:t>
            </a:r>
            <a:endParaRPr lang="en-US" sz="3600"/>
          </a:p>
        </p:txBody>
      </p:sp>
      <p:pic>
        <p:nvPicPr>
          <p:cNvPr id="235" name="Google Shape;235;p43"/>
          <p:cNvPicPr preferRelativeResize="0"/>
          <p:nvPr/>
        </p:nvPicPr>
        <p:blipFill rotWithShape="1">
          <a:blip r:embed="rId6">
            <a:alphaModFix/>
          </a:blip>
          <a:srcRect l="10987" r="10979"/>
          <a:stretch/>
        </p:blipFill>
        <p:spPr>
          <a:xfrm>
            <a:off x="5228675" y="945047"/>
            <a:ext cx="3405576" cy="3603300"/>
          </a:xfrm>
          <a:prstGeom prst="rect">
            <a:avLst/>
          </a:prstGeom>
          <a:noFill/>
          <a:ln>
            <a:noFill/>
          </a:ln>
        </p:spPr>
      </p:pic>
      <p:sp>
        <p:nvSpPr>
          <p:cNvPr id="236" name="Google Shape;236;p43"/>
          <p:cNvSpPr txBox="1">
            <a:spLocks noGrp="1"/>
          </p:cNvSpPr>
          <p:nvPr>
            <p:ph type="title" idx="2"/>
          </p:nvPr>
        </p:nvSpPr>
        <p:spPr>
          <a:xfrm>
            <a:off x="2362175" y="1067119"/>
            <a:ext cx="1252800" cy="1251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4" name="文本框 3">
            <a:extLst>
              <a:ext uri="{FF2B5EF4-FFF2-40B4-BE49-F238E27FC236}">
                <a16:creationId xmlns:a16="http://schemas.microsoft.com/office/drawing/2014/main" id="{B3C06921-DDC8-4F46-D0FA-1A399F37C74A}"/>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4</a:t>
            </a:r>
            <a:endParaRPr lang="zh-CN"/>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B7FF01F-5189-82BC-E0FD-7A46F872E7C2}"/>
              </a:ext>
            </a:extLst>
          </p:cNvPr>
          <p:cNvGraphicFramePr>
            <a:graphicFrameLocks noChangeAspect="1"/>
          </p:cNvGraphicFramePr>
          <p:nvPr>
            <p:custDataLst>
              <p:tags r:id="rId1"/>
            </p:custDataLst>
            <p:extLst>
              <p:ext uri="{D42A27DB-BD31-4B8C-83A1-F6EECF244321}">
                <p14:modId xmlns:p14="http://schemas.microsoft.com/office/powerpoint/2010/main" val="3159024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2B7FF01F-5189-82BC-E0FD-7A46F872E7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6" name="Google Shape;226;p42"/>
          <p:cNvSpPr txBox="1">
            <a:spLocks noGrp="1"/>
          </p:cNvSpPr>
          <p:nvPr>
            <p:ph type="body" idx="1"/>
          </p:nvPr>
        </p:nvSpPr>
        <p:spPr>
          <a:xfrm>
            <a:off x="3208713" y="1327118"/>
            <a:ext cx="5222312" cy="3009523"/>
          </a:xfrm>
          <a:prstGeom prst="rect">
            <a:avLst/>
          </a:prstGeom>
        </p:spPr>
        <p:txBody>
          <a:bodyPr spcFirstLastPara="1" wrap="square" lIns="91425" tIns="91425" rIns="91425" bIns="91425" anchor="t" anchorCtr="0">
            <a:noAutofit/>
          </a:bodyPr>
          <a:lstStyle/>
          <a:p>
            <a:pPr marL="285750" indent="-285750"/>
            <a:r>
              <a:rPr lang="en-US">
                <a:solidFill>
                  <a:schemeClr val="lt1"/>
                </a:solidFill>
              </a:rPr>
              <a:t>This project delves into the dynamic Brazilian e-commerce market, focusing on </a:t>
            </a:r>
            <a:r>
              <a:rPr lang="en-US" err="1">
                <a:solidFill>
                  <a:schemeClr val="lt1"/>
                </a:solidFill>
              </a:rPr>
              <a:t>Olist</a:t>
            </a:r>
            <a:r>
              <a:rPr lang="en-US">
                <a:solidFill>
                  <a:schemeClr val="lt1"/>
                </a:solidFill>
              </a:rPr>
              <a:t>, a platform that integrates small businesses into larger online marketplaces. </a:t>
            </a:r>
          </a:p>
          <a:p>
            <a:pPr marL="285750" indent="-285750"/>
            <a:r>
              <a:rPr lang="en-US">
                <a:solidFill>
                  <a:schemeClr val="lt1"/>
                </a:solidFill>
              </a:rPr>
              <a:t>Utilizing a rich Kaggle dataset alongside Brazil's macroeconomic indicators, including household income, we aim to uncover deep insights into consumer purchasing patterns and market trends. </a:t>
            </a:r>
          </a:p>
          <a:p>
            <a:pPr marL="285750" indent="-285750"/>
            <a:r>
              <a:rPr lang="en-US">
                <a:solidFill>
                  <a:schemeClr val="lt1"/>
                </a:solidFill>
              </a:rPr>
              <a:t>Our analysis includes a detailed RFM (Recency, Frequency, Monetary) assessment to enhance customer segmentation and purchasing behavior understanding. </a:t>
            </a:r>
          </a:p>
          <a:p>
            <a:pPr marL="285750" indent="-285750"/>
            <a:r>
              <a:rPr lang="en-US">
                <a:solidFill>
                  <a:schemeClr val="lt1"/>
                </a:solidFill>
              </a:rPr>
              <a:t>The objective is to derive strategic recommendations for </a:t>
            </a:r>
            <a:r>
              <a:rPr lang="en-US" err="1">
                <a:solidFill>
                  <a:schemeClr val="lt1"/>
                </a:solidFill>
              </a:rPr>
              <a:t>Olist</a:t>
            </a:r>
            <a:r>
              <a:rPr lang="en-US">
                <a:solidFill>
                  <a:schemeClr val="lt1"/>
                </a:solidFill>
              </a:rPr>
              <a:t>, targeting product portfolio optimization, marketing strategies, and overall sales enhancement to solidify their competitive edge in Brazil's flourishing e-commerce sector.</a:t>
            </a:r>
            <a:br>
              <a:rPr lang="en-US">
                <a:solidFill>
                  <a:schemeClr val="lt1"/>
                </a:solidFill>
              </a:rPr>
            </a:br>
            <a:endParaRPr lang="en-US">
              <a:solidFill>
                <a:schemeClr val="lt1"/>
              </a:solidFill>
            </a:endParaRPr>
          </a:p>
        </p:txBody>
      </p:sp>
      <p:pic>
        <p:nvPicPr>
          <p:cNvPr id="227" name="Google Shape;227;p42"/>
          <p:cNvPicPr preferRelativeResize="0"/>
          <p:nvPr/>
        </p:nvPicPr>
        <p:blipFill rotWithShape="1">
          <a:blip r:embed="rId6">
            <a:alphaModFix/>
          </a:blip>
          <a:srcRect l="6747" r="6747"/>
          <a:stretch/>
        </p:blipFill>
        <p:spPr>
          <a:xfrm>
            <a:off x="160894" y="1759696"/>
            <a:ext cx="3047819" cy="2479795"/>
          </a:xfrm>
          <a:prstGeom prst="rect">
            <a:avLst/>
          </a:prstGeom>
          <a:noFill/>
          <a:ln>
            <a:noFill/>
          </a:ln>
        </p:spPr>
      </p:pic>
      <p:sp>
        <p:nvSpPr>
          <p:cNvPr id="228" name="Google Shape;228;p42"/>
          <p:cNvSpPr txBox="1">
            <a:spLocks noGrp="1"/>
          </p:cNvSpPr>
          <p:nvPr>
            <p:ph type="title"/>
          </p:nvPr>
        </p:nvSpPr>
        <p:spPr>
          <a:xfrm>
            <a:off x="3318588" y="374597"/>
            <a:ext cx="4778008" cy="12093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altLang="zh-CN"/>
              <a:t>Executive Summary</a:t>
            </a:r>
            <a:endParaRPr/>
          </a:p>
        </p:txBody>
      </p:sp>
      <p:sp>
        <p:nvSpPr>
          <p:cNvPr id="4" name="文本框 3">
            <a:extLst>
              <a:ext uri="{FF2B5EF4-FFF2-40B4-BE49-F238E27FC236}">
                <a16:creationId xmlns:a16="http://schemas.microsoft.com/office/drawing/2014/main" id="{DAAA3CA6-1662-C71D-5618-0365C210787B}"/>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5</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C5DA5E3-4C2D-9447-F821-2F869CA302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0C5DA5E3-4C2D-9447-F821-2F869CA302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1" name="Google Shape;221;p41"/>
          <p:cNvSpPr txBox="1">
            <a:spLocks noGrp="1"/>
          </p:cNvSpPr>
          <p:nvPr>
            <p:ph type="title"/>
          </p:nvPr>
        </p:nvSpPr>
        <p:spPr>
          <a:xfrm>
            <a:off x="-600411" y="151481"/>
            <a:ext cx="5300700" cy="694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2800"/>
              <a:t>Research Objectives</a:t>
            </a:r>
            <a:endParaRPr sz="2800"/>
          </a:p>
        </p:txBody>
      </p:sp>
      <p:sp>
        <p:nvSpPr>
          <p:cNvPr id="10" name="Google Shape;790;p61">
            <a:extLst>
              <a:ext uri="{FF2B5EF4-FFF2-40B4-BE49-F238E27FC236}">
                <a16:creationId xmlns:a16="http://schemas.microsoft.com/office/drawing/2014/main" id="{19C8985D-FE9E-7D62-7D80-12E5382106A3}"/>
              </a:ext>
            </a:extLst>
          </p:cNvPr>
          <p:cNvSpPr txBox="1">
            <a:spLocks/>
          </p:cNvSpPr>
          <p:nvPr/>
        </p:nvSpPr>
        <p:spPr>
          <a:xfrm>
            <a:off x="3395106" y="1250222"/>
            <a:ext cx="2930700" cy="4662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i="0">
                <a:solidFill>
                  <a:schemeClr val="bg1"/>
                </a:solidFill>
                <a:effectLst/>
                <a:latin typeface="DM Sans" pitchFamily="2" charset="77"/>
              </a:rPr>
              <a:t>Customer and Sales Data Analysis</a:t>
            </a:r>
            <a:endParaRPr lang="en-US"/>
          </a:p>
        </p:txBody>
      </p:sp>
      <p:sp>
        <p:nvSpPr>
          <p:cNvPr id="11" name="Google Shape;791;p61">
            <a:extLst>
              <a:ext uri="{FF2B5EF4-FFF2-40B4-BE49-F238E27FC236}">
                <a16:creationId xmlns:a16="http://schemas.microsoft.com/office/drawing/2014/main" id="{BE523913-76AA-BCD3-2188-A57A3049EF85}"/>
              </a:ext>
            </a:extLst>
          </p:cNvPr>
          <p:cNvSpPr txBox="1">
            <a:spLocks noGrp="1"/>
          </p:cNvSpPr>
          <p:nvPr>
            <p:ph type="subTitle" idx="1"/>
          </p:nvPr>
        </p:nvSpPr>
        <p:spPr>
          <a:xfrm>
            <a:off x="3593855" y="1656752"/>
            <a:ext cx="2534350" cy="816122"/>
          </a:xfrm>
          <a:prstGeom prst="rect">
            <a:avLst/>
          </a:prstGeom>
        </p:spPr>
        <p:txBody>
          <a:bodyPr spcFirstLastPara="1" wrap="square" lIns="91425" tIns="91425" rIns="91425" bIns="91425" anchor="t" anchorCtr="0">
            <a:noAutofit/>
          </a:bodyPr>
          <a:lstStyle/>
          <a:p>
            <a:pPr marL="139700" indent="0"/>
            <a:r>
              <a:rPr lang="en-US" sz="1200" b="0" i="0">
                <a:solidFill>
                  <a:schemeClr val="bg1"/>
                </a:solidFill>
                <a:effectLst/>
                <a:latin typeface="DM Sans"/>
              </a:rPr>
              <a:t>Examine the Kaggle dataset to decode customer purchasing behaviors, sales trends, and product popularity on </a:t>
            </a:r>
            <a:r>
              <a:rPr lang="en-US" sz="1200" b="0" i="0" err="1">
                <a:solidFill>
                  <a:schemeClr val="bg1"/>
                </a:solidFill>
                <a:effectLst/>
                <a:latin typeface="DM Sans"/>
              </a:rPr>
              <a:t>Olist</a:t>
            </a:r>
            <a:r>
              <a:rPr lang="en-US" sz="1200" b="0" i="0">
                <a:solidFill>
                  <a:schemeClr val="bg1"/>
                </a:solidFill>
                <a:effectLst/>
                <a:latin typeface="DM Sans"/>
              </a:rPr>
              <a:t>.</a:t>
            </a:r>
            <a:endParaRPr lang="zh-CN" altLang="en-US">
              <a:solidFill>
                <a:schemeClr val="bg1"/>
              </a:solidFill>
              <a:latin typeface="DM Sans"/>
            </a:endParaRPr>
          </a:p>
        </p:txBody>
      </p:sp>
      <p:sp>
        <p:nvSpPr>
          <p:cNvPr id="12" name="Google Shape;797;p61">
            <a:extLst>
              <a:ext uri="{FF2B5EF4-FFF2-40B4-BE49-F238E27FC236}">
                <a16:creationId xmlns:a16="http://schemas.microsoft.com/office/drawing/2014/main" id="{DAB4E641-761B-8831-7C2D-2CDD88941FB5}"/>
              </a:ext>
            </a:extLst>
          </p:cNvPr>
          <p:cNvSpPr/>
          <p:nvPr/>
        </p:nvSpPr>
        <p:spPr>
          <a:xfrm>
            <a:off x="4563763" y="609030"/>
            <a:ext cx="572700" cy="5727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801;p61">
            <a:extLst>
              <a:ext uri="{FF2B5EF4-FFF2-40B4-BE49-F238E27FC236}">
                <a16:creationId xmlns:a16="http://schemas.microsoft.com/office/drawing/2014/main" id="{BAE861AE-DF8B-FF51-ABB2-453469E7622D}"/>
              </a:ext>
            </a:extLst>
          </p:cNvPr>
          <p:cNvSpPr/>
          <p:nvPr/>
        </p:nvSpPr>
        <p:spPr>
          <a:xfrm>
            <a:off x="4563763" y="609030"/>
            <a:ext cx="572700" cy="572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 name="Google Shape;818;p61">
            <a:extLst>
              <a:ext uri="{FF2B5EF4-FFF2-40B4-BE49-F238E27FC236}">
                <a16:creationId xmlns:a16="http://schemas.microsoft.com/office/drawing/2014/main" id="{A5033A04-0E78-8FCE-047C-5D82AD28A5AE}"/>
              </a:ext>
            </a:extLst>
          </p:cNvPr>
          <p:cNvGrpSpPr/>
          <p:nvPr/>
        </p:nvGrpSpPr>
        <p:grpSpPr>
          <a:xfrm>
            <a:off x="4690759" y="741947"/>
            <a:ext cx="318708" cy="306867"/>
            <a:chOff x="7181068" y="3564123"/>
            <a:chExt cx="480489" cy="462636"/>
          </a:xfrm>
        </p:grpSpPr>
        <p:sp>
          <p:nvSpPr>
            <p:cNvPr id="15" name="Google Shape;819;p61">
              <a:extLst>
                <a:ext uri="{FF2B5EF4-FFF2-40B4-BE49-F238E27FC236}">
                  <a16:creationId xmlns:a16="http://schemas.microsoft.com/office/drawing/2014/main" id="{A1B3E13F-BC7A-0808-85E1-D6BA132AFCC2}"/>
                </a:ext>
              </a:extLst>
            </p:cNvPr>
            <p:cNvSpPr/>
            <p:nvPr/>
          </p:nvSpPr>
          <p:spPr>
            <a:xfrm>
              <a:off x="7181068" y="3810981"/>
              <a:ext cx="66408" cy="215778"/>
            </a:xfrm>
            <a:custGeom>
              <a:avLst/>
              <a:gdLst/>
              <a:ahLst/>
              <a:cxnLst/>
              <a:rect l="l" t="t" r="r" b="b"/>
              <a:pathLst>
                <a:path w="2455" h="7977" extrusionOk="0">
                  <a:moveTo>
                    <a:pt x="1955" y="1"/>
                  </a:moveTo>
                  <a:lnTo>
                    <a:pt x="509" y="1"/>
                  </a:lnTo>
                  <a:cubicBezTo>
                    <a:pt x="233" y="1"/>
                    <a:pt x="1" y="224"/>
                    <a:pt x="1" y="500"/>
                  </a:cubicBezTo>
                  <a:lnTo>
                    <a:pt x="1" y="7477"/>
                  </a:lnTo>
                  <a:cubicBezTo>
                    <a:pt x="1" y="7753"/>
                    <a:pt x="233" y="7976"/>
                    <a:pt x="509" y="7976"/>
                  </a:cubicBezTo>
                  <a:lnTo>
                    <a:pt x="1955" y="7976"/>
                  </a:lnTo>
                  <a:cubicBezTo>
                    <a:pt x="2231" y="7976"/>
                    <a:pt x="2454" y="7753"/>
                    <a:pt x="2454" y="7477"/>
                  </a:cubicBezTo>
                  <a:lnTo>
                    <a:pt x="2454" y="500"/>
                  </a:lnTo>
                  <a:cubicBezTo>
                    <a:pt x="2454" y="224"/>
                    <a:pt x="2231" y="1"/>
                    <a:pt x="19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6" name="Google Shape;820;p61">
              <a:extLst>
                <a:ext uri="{FF2B5EF4-FFF2-40B4-BE49-F238E27FC236}">
                  <a16:creationId xmlns:a16="http://schemas.microsoft.com/office/drawing/2014/main" id="{92BCF039-0E1C-4FC1-EADF-44AEB93E0344}"/>
                </a:ext>
              </a:extLst>
            </p:cNvPr>
            <p:cNvSpPr/>
            <p:nvPr/>
          </p:nvSpPr>
          <p:spPr>
            <a:xfrm>
              <a:off x="7389813" y="3564123"/>
              <a:ext cx="47094" cy="48284"/>
            </a:xfrm>
            <a:custGeom>
              <a:avLst/>
              <a:gdLst/>
              <a:ahLst/>
              <a:cxnLst/>
              <a:rect l="l" t="t" r="r" b="b"/>
              <a:pathLst>
                <a:path w="1741" h="1785" extrusionOk="0">
                  <a:moveTo>
                    <a:pt x="1089" y="1464"/>
                  </a:moveTo>
                  <a:lnTo>
                    <a:pt x="1740" y="1785"/>
                  </a:lnTo>
                  <a:lnTo>
                    <a:pt x="1740" y="1"/>
                  </a:lnTo>
                  <a:lnTo>
                    <a:pt x="1" y="1"/>
                  </a:lnTo>
                  <a:lnTo>
                    <a:pt x="1" y="1785"/>
                  </a:lnTo>
                  <a:lnTo>
                    <a:pt x="652" y="1464"/>
                  </a:lnTo>
                  <a:cubicBezTo>
                    <a:pt x="786" y="1392"/>
                    <a:pt x="946" y="1392"/>
                    <a:pt x="1089" y="146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7" name="Google Shape;821;p61">
              <a:extLst>
                <a:ext uri="{FF2B5EF4-FFF2-40B4-BE49-F238E27FC236}">
                  <a16:creationId xmlns:a16="http://schemas.microsoft.com/office/drawing/2014/main" id="{C08DB1DC-6D76-E663-42ED-CDD07E4BB25D}"/>
                </a:ext>
              </a:extLst>
            </p:cNvPr>
            <p:cNvSpPr/>
            <p:nvPr/>
          </p:nvSpPr>
          <p:spPr>
            <a:xfrm>
              <a:off x="7289917" y="3564123"/>
              <a:ext cx="245912" cy="245939"/>
            </a:xfrm>
            <a:custGeom>
              <a:avLst/>
              <a:gdLst/>
              <a:ahLst/>
              <a:cxnLst/>
              <a:rect l="l" t="t" r="r" b="b"/>
              <a:pathLst>
                <a:path w="9091" h="9092" extrusionOk="0">
                  <a:moveTo>
                    <a:pt x="509" y="9091"/>
                  </a:moveTo>
                  <a:lnTo>
                    <a:pt x="8591" y="9091"/>
                  </a:lnTo>
                  <a:cubicBezTo>
                    <a:pt x="8868" y="9091"/>
                    <a:pt x="9091" y="8868"/>
                    <a:pt x="9091" y="8592"/>
                  </a:cubicBezTo>
                  <a:lnTo>
                    <a:pt x="9091" y="509"/>
                  </a:lnTo>
                  <a:cubicBezTo>
                    <a:pt x="9091" y="233"/>
                    <a:pt x="8868" y="1"/>
                    <a:pt x="8591" y="1"/>
                  </a:cubicBezTo>
                  <a:lnTo>
                    <a:pt x="6441" y="1"/>
                  </a:lnTo>
                  <a:lnTo>
                    <a:pt x="6441" y="2570"/>
                  </a:lnTo>
                  <a:cubicBezTo>
                    <a:pt x="6441" y="2829"/>
                    <a:pt x="6263" y="3043"/>
                    <a:pt x="6013" y="3078"/>
                  </a:cubicBezTo>
                  <a:cubicBezTo>
                    <a:pt x="5888" y="3096"/>
                    <a:pt x="5781" y="3069"/>
                    <a:pt x="5683" y="3016"/>
                  </a:cubicBezTo>
                  <a:lnTo>
                    <a:pt x="4568" y="2472"/>
                  </a:lnTo>
                  <a:lnTo>
                    <a:pt x="3408" y="3034"/>
                  </a:lnTo>
                  <a:cubicBezTo>
                    <a:pt x="3167" y="3159"/>
                    <a:pt x="2864" y="3052"/>
                    <a:pt x="2739" y="2811"/>
                  </a:cubicBezTo>
                  <a:cubicBezTo>
                    <a:pt x="2703" y="2739"/>
                    <a:pt x="2685" y="2659"/>
                    <a:pt x="2685" y="2588"/>
                  </a:cubicBezTo>
                  <a:lnTo>
                    <a:pt x="2685" y="2588"/>
                  </a:lnTo>
                  <a:lnTo>
                    <a:pt x="2685" y="1"/>
                  </a:lnTo>
                  <a:lnTo>
                    <a:pt x="509" y="1"/>
                  </a:lnTo>
                  <a:cubicBezTo>
                    <a:pt x="232" y="1"/>
                    <a:pt x="0" y="233"/>
                    <a:pt x="0" y="509"/>
                  </a:cubicBezTo>
                  <a:lnTo>
                    <a:pt x="0" y="8592"/>
                  </a:lnTo>
                  <a:cubicBezTo>
                    <a:pt x="0" y="8868"/>
                    <a:pt x="232" y="9091"/>
                    <a:pt x="509" y="909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8" name="Google Shape;822;p61">
              <a:extLst>
                <a:ext uri="{FF2B5EF4-FFF2-40B4-BE49-F238E27FC236}">
                  <a16:creationId xmlns:a16="http://schemas.microsoft.com/office/drawing/2014/main" id="{366716A1-E60E-8975-949E-26AD9317790D}"/>
                </a:ext>
              </a:extLst>
            </p:cNvPr>
            <p:cNvSpPr/>
            <p:nvPr/>
          </p:nvSpPr>
          <p:spPr>
            <a:xfrm>
              <a:off x="7274715" y="3849852"/>
              <a:ext cx="386842" cy="162895"/>
            </a:xfrm>
            <a:custGeom>
              <a:avLst/>
              <a:gdLst/>
              <a:ahLst/>
              <a:cxnLst/>
              <a:rect l="l" t="t" r="r" b="b"/>
              <a:pathLst>
                <a:path w="14301" h="6022" extrusionOk="0">
                  <a:moveTo>
                    <a:pt x="11294" y="544"/>
                  </a:moveTo>
                  <a:lnTo>
                    <a:pt x="7485" y="1561"/>
                  </a:lnTo>
                  <a:cubicBezTo>
                    <a:pt x="7467" y="696"/>
                    <a:pt x="6753" y="0"/>
                    <a:pt x="5879" y="0"/>
                  </a:cubicBezTo>
                  <a:lnTo>
                    <a:pt x="0" y="0"/>
                  </a:lnTo>
                  <a:lnTo>
                    <a:pt x="0" y="5611"/>
                  </a:lnTo>
                  <a:cubicBezTo>
                    <a:pt x="2141" y="6022"/>
                    <a:pt x="4291" y="5924"/>
                    <a:pt x="6254" y="5611"/>
                  </a:cubicBezTo>
                  <a:cubicBezTo>
                    <a:pt x="8707" y="5228"/>
                    <a:pt x="10848" y="4496"/>
                    <a:pt x="12302" y="3988"/>
                  </a:cubicBezTo>
                  <a:cubicBezTo>
                    <a:pt x="12775" y="3818"/>
                    <a:pt x="13177" y="3542"/>
                    <a:pt x="13417" y="3167"/>
                  </a:cubicBezTo>
                  <a:cubicBezTo>
                    <a:pt x="14301" y="1802"/>
                    <a:pt x="12811" y="98"/>
                    <a:pt x="11294" y="54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sp>
        <p:nvSpPr>
          <p:cNvPr id="19" name="Google Shape;790;p61">
            <a:extLst>
              <a:ext uri="{FF2B5EF4-FFF2-40B4-BE49-F238E27FC236}">
                <a16:creationId xmlns:a16="http://schemas.microsoft.com/office/drawing/2014/main" id="{B7332ABA-9985-8AAB-8864-95D651D7CF33}"/>
              </a:ext>
            </a:extLst>
          </p:cNvPr>
          <p:cNvSpPr txBox="1">
            <a:spLocks/>
          </p:cNvSpPr>
          <p:nvPr/>
        </p:nvSpPr>
        <p:spPr>
          <a:xfrm>
            <a:off x="6202363" y="1186313"/>
            <a:ext cx="2930700" cy="4662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i="0">
                <a:solidFill>
                  <a:schemeClr val="bg1"/>
                </a:solidFill>
                <a:effectLst/>
                <a:latin typeface="DM Sans" pitchFamily="2" charset="77"/>
              </a:rPr>
              <a:t>Macroeconomic </a:t>
            </a:r>
          </a:p>
          <a:p>
            <a:pPr algn="ctr"/>
            <a:r>
              <a:rPr lang="en-US" b="1" i="0">
                <a:solidFill>
                  <a:schemeClr val="bg1"/>
                </a:solidFill>
                <a:effectLst/>
                <a:latin typeface="DM Sans" pitchFamily="2" charset="77"/>
              </a:rPr>
              <a:t>Integration</a:t>
            </a:r>
            <a:endParaRPr lang="en-US"/>
          </a:p>
        </p:txBody>
      </p:sp>
      <p:sp>
        <p:nvSpPr>
          <p:cNvPr id="20" name="Google Shape;791;p61">
            <a:extLst>
              <a:ext uri="{FF2B5EF4-FFF2-40B4-BE49-F238E27FC236}">
                <a16:creationId xmlns:a16="http://schemas.microsoft.com/office/drawing/2014/main" id="{344436C1-1E81-B4EA-26B1-24099C3349B7}"/>
              </a:ext>
            </a:extLst>
          </p:cNvPr>
          <p:cNvSpPr txBox="1">
            <a:spLocks/>
          </p:cNvSpPr>
          <p:nvPr/>
        </p:nvSpPr>
        <p:spPr>
          <a:xfrm>
            <a:off x="6387740" y="1652874"/>
            <a:ext cx="2620173" cy="79385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ctr" rtl="0">
              <a:lnSpc>
                <a:spcPct val="100000"/>
              </a:lnSpc>
              <a:spcBef>
                <a:spcPts val="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1pPr>
            <a:lvl2pPr marL="914400" marR="0" lvl="1" indent="-317500" algn="ctr" rtl="0">
              <a:lnSpc>
                <a:spcPct val="100000"/>
              </a:lnSpc>
              <a:spcBef>
                <a:spcPts val="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2pPr>
            <a:lvl3pPr marL="1371600" marR="0" lvl="2"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3pPr>
            <a:lvl4pPr marL="1828800" marR="0" lvl="3"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4pPr>
            <a:lvl5pPr marL="2286000" marR="0" lvl="4"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5pPr>
            <a:lvl6pPr marL="2743200" marR="0" lvl="5"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6pPr>
            <a:lvl7pPr marL="3200400" marR="0" lvl="6"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7pPr>
            <a:lvl8pPr marL="3657600" marR="0" lvl="7"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8pPr>
            <a:lvl9pPr marL="4114800" marR="0" lvl="8" indent="-317500" algn="ctr" rtl="0">
              <a:lnSpc>
                <a:spcPct val="100000"/>
              </a:lnSpc>
              <a:spcBef>
                <a:spcPts val="1600"/>
              </a:spcBef>
              <a:spcAft>
                <a:spcPts val="1600"/>
              </a:spcAft>
              <a:buClr>
                <a:schemeClr val="lt1"/>
              </a:buClr>
              <a:buSzPts val="1400"/>
              <a:buFont typeface="Manrope"/>
              <a:buNone/>
              <a:defRPr sz="1400" b="0" i="0" u="none" strike="noStrike" cap="none">
                <a:solidFill>
                  <a:schemeClr val="lt1"/>
                </a:solidFill>
                <a:latin typeface="Manrope"/>
                <a:ea typeface="Manrope"/>
                <a:cs typeface="Manrope"/>
                <a:sym typeface="Manrope"/>
              </a:defRPr>
            </a:lvl9pPr>
          </a:lstStyle>
          <a:p>
            <a:pPr marL="139700" indent="0"/>
            <a:r>
              <a:rPr lang="en-US" sz="1200" b="0" i="0">
                <a:solidFill>
                  <a:schemeClr val="bg1"/>
                </a:solidFill>
                <a:effectLst/>
                <a:latin typeface="DM Sans" pitchFamily="2" charset="77"/>
              </a:rPr>
              <a:t>Assess the impact of Brazil's economic conditions, especially household income, on e-commerce trends.</a:t>
            </a:r>
            <a:endParaRPr lang="zh-CN" altLang="en-US"/>
          </a:p>
        </p:txBody>
      </p:sp>
      <p:sp>
        <p:nvSpPr>
          <p:cNvPr id="21" name="Google Shape;797;p61">
            <a:extLst>
              <a:ext uri="{FF2B5EF4-FFF2-40B4-BE49-F238E27FC236}">
                <a16:creationId xmlns:a16="http://schemas.microsoft.com/office/drawing/2014/main" id="{1E4B98CA-9A65-FCFA-D534-C2FD6717FB43}"/>
              </a:ext>
            </a:extLst>
          </p:cNvPr>
          <p:cNvSpPr/>
          <p:nvPr/>
        </p:nvSpPr>
        <p:spPr>
          <a:xfrm>
            <a:off x="7413415" y="612887"/>
            <a:ext cx="572700" cy="5727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801;p61">
            <a:extLst>
              <a:ext uri="{FF2B5EF4-FFF2-40B4-BE49-F238E27FC236}">
                <a16:creationId xmlns:a16="http://schemas.microsoft.com/office/drawing/2014/main" id="{44FAA4F5-1A6F-2A9C-BA0A-F9493E25AE35}"/>
              </a:ext>
            </a:extLst>
          </p:cNvPr>
          <p:cNvSpPr/>
          <p:nvPr/>
        </p:nvSpPr>
        <p:spPr>
          <a:xfrm>
            <a:off x="7413415" y="605465"/>
            <a:ext cx="572700" cy="572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818;p61">
            <a:extLst>
              <a:ext uri="{FF2B5EF4-FFF2-40B4-BE49-F238E27FC236}">
                <a16:creationId xmlns:a16="http://schemas.microsoft.com/office/drawing/2014/main" id="{C02B7AE5-7512-7C8A-E03A-DE9BC89D5869}"/>
              </a:ext>
            </a:extLst>
          </p:cNvPr>
          <p:cNvGrpSpPr/>
          <p:nvPr/>
        </p:nvGrpSpPr>
        <p:grpSpPr>
          <a:xfrm>
            <a:off x="7540411" y="745804"/>
            <a:ext cx="318708" cy="306867"/>
            <a:chOff x="7181068" y="3564123"/>
            <a:chExt cx="480489" cy="462636"/>
          </a:xfrm>
        </p:grpSpPr>
        <p:sp>
          <p:nvSpPr>
            <p:cNvPr id="24" name="Google Shape;819;p61">
              <a:extLst>
                <a:ext uri="{FF2B5EF4-FFF2-40B4-BE49-F238E27FC236}">
                  <a16:creationId xmlns:a16="http://schemas.microsoft.com/office/drawing/2014/main" id="{49A1D5C2-F0A3-201F-C2FE-8AE1F90FD46C}"/>
                </a:ext>
              </a:extLst>
            </p:cNvPr>
            <p:cNvSpPr/>
            <p:nvPr/>
          </p:nvSpPr>
          <p:spPr>
            <a:xfrm>
              <a:off x="7181068" y="3810981"/>
              <a:ext cx="66408" cy="215778"/>
            </a:xfrm>
            <a:custGeom>
              <a:avLst/>
              <a:gdLst/>
              <a:ahLst/>
              <a:cxnLst/>
              <a:rect l="l" t="t" r="r" b="b"/>
              <a:pathLst>
                <a:path w="2455" h="7977" extrusionOk="0">
                  <a:moveTo>
                    <a:pt x="1955" y="1"/>
                  </a:moveTo>
                  <a:lnTo>
                    <a:pt x="509" y="1"/>
                  </a:lnTo>
                  <a:cubicBezTo>
                    <a:pt x="233" y="1"/>
                    <a:pt x="1" y="224"/>
                    <a:pt x="1" y="500"/>
                  </a:cubicBezTo>
                  <a:lnTo>
                    <a:pt x="1" y="7477"/>
                  </a:lnTo>
                  <a:cubicBezTo>
                    <a:pt x="1" y="7753"/>
                    <a:pt x="233" y="7976"/>
                    <a:pt x="509" y="7976"/>
                  </a:cubicBezTo>
                  <a:lnTo>
                    <a:pt x="1955" y="7976"/>
                  </a:lnTo>
                  <a:cubicBezTo>
                    <a:pt x="2231" y="7976"/>
                    <a:pt x="2454" y="7753"/>
                    <a:pt x="2454" y="7477"/>
                  </a:cubicBezTo>
                  <a:lnTo>
                    <a:pt x="2454" y="500"/>
                  </a:lnTo>
                  <a:cubicBezTo>
                    <a:pt x="2454" y="224"/>
                    <a:pt x="2231" y="1"/>
                    <a:pt x="19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5" name="Google Shape;820;p61">
              <a:extLst>
                <a:ext uri="{FF2B5EF4-FFF2-40B4-BE49-F238E27FC236}">
                  <a16:creationId xmlns:a16="http://schemas.microsoft.com/office/drawing/2014/main" id="{F851756D-F779-4CAB-EE66-00E39C779681}"/>
                </a:ext>
              </a:extLst>
            </p:cNvPr>
            <p:cNvSpPr/>
            <p:nvPr/>
          </p:nvSpPr>
          <p:spPr>
            <a:xfrm>
              <a:off x="7389813" y="3564123"/>
              <a:ext cx="47094" cy="48284"/>
            </a:xfrm>
            <a:custGeom>
              <a:avLst/>
              <a:gdLst/>
              <a:ahLst/>
              <a:cxnLst/>
              <a:rect l="l" t="t" r="r" b="b"/>
              <a:pathLst>
                <a:path w="1741" h="1785" extrusionOk="0">
                  <a:moveTo>
                    <a:pt x="1089" y="1464"/>
                  </a:moveTo>
                  <a:lnTo>
                    <a:pt x="1740" y="1785"/>
                  </a:lnTo>
                  <a:lnTo>
                    <a:pt x="1740" y="1"/>
                  </a:lnTo>
                  <a:lnTo>
                    <a:pt x="1" y="1"/>
                  </a:lnTo>
                  <a:lnTo>
                    <a:pt x="1" y="1785"/>
                  </a:lnTo>
                  <a:lnTo>
                    <a:pt x="652" y="1464"/>
                  </a:lnTo>
                  <a:cubicBezTo>
                    <a:pt x="786" y="1392"/>
                    <a:pt x="946" y="1392"/>
                    <a:pt x="1089" y="146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6" name="Google Shape;821;p61">
              <a:extLst>
                <a:ext uri="{FF2B5EF4-FFF2-40B4-BE49-F238E27FC236}">
                  <a16:creationId xmlns:a16="http://schemas.microsoft.com/office/drawing/2014/main" id="{583476F9-EA61-B6EC-78A4-B4FC6CC8E205}"/>
                </a:ext>
              </a:extLst>
            </p:cNvPr>
            <p:cNvSpPr/>
            <p:nvPr/>
          </p:nvSpPr>
          <p:spPr>
            <a:xfrm>
              <a:off x="7289917" y="3564123"/>
              <a:ext cx="245912" cy="245939"/>
            </a:xfrm>
            <a:custGeom>
              <a:avLst/>
              <a:gdLst/>
              <a:ahLst/>
              <a:cxnLst/>
              <a:rect l="l" t="t" r="r" b="b"/>
              <a:pathLst>
                <a:path w="9091" h="9092" extrusionOk="0">
                  <a:moveTo>
                    <a:pt x="509" y="9091"/>
                  </a:moveTo>
                  <a:lnTo>
                    <a:pt x="8591" y="9091"/>
                  </a:lnTo>
                  <a:cubicBezTo>
                    <a:pt x="8868" y="9091"/>
                    <a:pt x="9091" y="8868"/>
                    <a:pt x="9091" y="8592"/>
                  </a:cubicBezTo>
                  <a:lnTo>
                    <a:pt x="9091" y="509"/>
                  </a:lnTo>
                  <a:cubicBezTo>
                    <a:pt x="9091" y="233"/>
                    <a:pt x="8868" y="1"/>
                    <a:pt x="8591" y="1"/>
                  </a:cubicBezTo>
                  <a:lnTo>
                    <a:pt x="6441" y="1"/>
                  </a:lnTo>
                  <a:lnTo>
                    <a:pt x="6441" y="2570"/>
                  </a:lnTo>
                  <a:cubicBezTo>
                    <a:pt x="6441" y="2829"/>
                    <a:pt x="6263" y="3043"/>
                    <a:pt x="6013" y="3078"/>
                  </a:cubicBezTo>
                  <a:cubicBezTo>
                    <a:pt x="5888" y="3096"/>
                    <a:pt x="5781" y="3069"/>
                    <a:pt x="5683" y="3016"/>
                  </a:cubicBezTo>
                  <a:lnTo>
                    <a:pt x="4568" y="2472"/>
                  </a:lnTo>
                  <a:lnTo>
                    <a:pt x="3408" y="3034"/>
                  </a:lnTo>
                  <a:cubicBezTo>
                    <a:pt x="3167" y="3159"/>
                    <a:pt x="2864" y="3052"/>
                    <a:pt x="2739" y="2811"/>
                  </a:cubicBezTo>
                  <a:cubicBezTo>
                    <a:pt x="2703" y="2739"/>
                    <a:pt x="2685" y="2659"/>
                    <a:pt x="2685" y="2588"/>
                  </a:cubicBezTo>
                  <a:lnTo>
                    <a:pt x="2685" y="2588"/>
                  </a:lnTo>
                  <a:lnTo>
                    <a:pt x="2685" y="1"/>
                  </a:lnTo>
                  <a:lnTo>
                    <a:pt x="509" y="1"/>
                  </a:lnTo>
                  <a:cubicBezTo>
                    <a:pt x="232" y="1"/>
                    <a:pt x="0" y="233"/>
                    <a:pt x="0" y="509"/>
                  </a:cubicBezTo>
                  <a:lnTo>
                    <a:pt x="0" y="8592"/>
                  </a:lnTo>
                  <a:cubicBezTo>
                    <a:pt x="0" y="8868"/>
                    <a:pt x="232" y="9091"/>
                    <a:pt x="509" y="909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27" name="Google Shape;822;p61">
              <a:extLst>
                <a:ext uri="{FF2B5EF4-FFF2-40B4-BE49-F238E27FC236}">
                  <a16:creationId xmlns:a16="http://schemas.microsoft.com/office/drawing/2014/main" id="{938D64DE-8976-B695-9A4D-F1527C71DC32}"/>
                </a:ext>
              </a:extLst>
            </p:cNvPr>
            <p:cNvSpPr/>
            <p:nvPr/>
          </p:nvSpPr>
          <p:spPr>
            <a:xfrm>
              <a:off x="7274715" y="3849852"/>
              <a:ext cx="386842" cy="162895"/>
            </a:xfrm>
            <a:custGeom>
              <a:avLst/>
              <a:gdLst/>
              <a:ahLst/>
              <a:cxnLst/>
              <a:rect l="l" t="t" r="r" b="b"/>
              <a:pathLst>
                <a:path w="14301" h="6022" extrusionOk="0">
                  <a:moveTo>
                    <a:pt x="11294" y="544"/>
                  </a:moveTo>
                  <a:lnTo>
                    <a:pt x="7485" y="1561"/>
                  </a:lnTo>
                  <a:cubicBezTo>
                    <a:pt x="7467" y="696"/>
                    <a:pt x="6753" y="0"/>
                    <a:pt x="5879" y="0"/>
                  </a:cubicBezTo>
                  <a:lnTo>
                    <a:pt x="0" y="0"/>
                  </a:lnTo>
                  <a:lnTo>
                    <a:pt x="0" y="5611"/>
                  </a:lnTo>
                  <a:cubicBezTo>
                    <a:pt x="2141" y="6022"/>
                    <a:pt x="4291" y="5924"/>
                    <a:pt x="6254" y="5611"/>
                  </a:cubicBezTo>
                  <a:cubicBezTo>
                    <a:pt x="8707" y="5228"/>
                    <a:pt x="10848" y="4496"/>
                    <a:pt x="12302" y="3988"/>
                  </a:cubicBezTo>
                  <a:cubicBezTo>
                    <a:pt x="12775" y="3818"/>
                    <a:pt x="13177" y="3542"/>
                    <a:pt x="13417" y="3167"/>
                  </a:cubicBezTo>
                  <a:cubicBezTo>
                    <a:pt x="14301" y="1802"/>
                    <a:pt x="12811" y="98"/>
                    <a:pt x="11294" y="54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sp>
        <p:nvSpPr>
          <p:cNvPr id="30" name="Google Shape;790;p61">
            <a:extLst>
              <a:ext uri="{FF2B5EF4-FFF2-40B4-BE49-F238E27FC236}">
                <a16:creationId xmlns:a16="http://schemas.microsoft.com/office/drawing/2014/main" id="{B2EABD31-6B09-93C7-14CD-8580E0290EBE}"/>
              </a:ext>
            </a:extLst>
          </p:cNvPr>
          <p:cNvSpPr txBox="1">
            <a:spLocks/>
          </p:cNvSpPr>
          <p:nvPr/>
        </p:nvSpPr>
        <p:spPr>
          <a:xfrm>
            <a:off x="3351640" y="3212582"/>
            <a:ext cx="2930700" cy="4662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i="0">
                <a:solidFill>
                  <a:schemeClr val="bg1"/>
                </a:solidFill>
                <a:effectLst/>
                <a:latin typeface="DM Sans"/>
              </a:rPr>
              <a:t>RFM</a:t>
            </a:r>
            <a:r>
              <a:rPr lang="en-US" b="1">
                <a:solidFill>
                  <a:schemeClr val="bg1"/>
                </a:solidFill>
                <a:latin typeface="DM Sans"/>
              </a:rPr>
              <a:t> </a:t>
            </a:r>
            <a:r>
              <a:rPr lang="en-US" b="1" i="0">
                <a:solidFill>
                  <a:schemeClr val="bg1"/>
                </a:solidFill>
                <a:effectLst/>
                <a:latin typeface="DM Sans"/>
              </a:rPr>
              <a:t>Analysis</a:t>
            </a:r>
            <a:endParaRPr lang="en-US">
              <a:solidFill>
                <a:schemeClr val="bg1"/>
              </a:solidFill>
              <a:latin typeface="DM Sans"/>
            </a:endParaRPr>
          </a:p>
        </p:txBody>
      </p:sp>
      <p:sp>
        <p:nvSpPr>
          <p:cNvPr id="31" name="Google Shape;791;p61">
            <a:extLst>
              <a:ext uri="{FF2B5EF4-FFF2-40B4-BE49-F238E27FC236}">
                <a16:creationId xmlns:a16="http://schemas.microsoft.com/office/drawing/2014/main" id="{48A649E0-7313-7BD2-5860-F4DD52BFD256}"/>
              </a:ext>
            </a:extLst>
          </p:cNvPr>
          <p:cNvSpPr txBox="1">
            <a:spLocks/>
          </p:cNvSpPr>
          <p:nvPr/>
        </p:nvSpPr>
        <p:spPr>
          <a:xfrm>
            <a:off x="3440557" y="3682326"/>
            <a:ext cx="2890568" cy="11163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ctr" rtl="0">
              <a:lnSpc>
                <a:spcPct val="100000"/>
              </a:lnSpc>
              <a:spcBef>
                <a:spcPts val="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1pPr>
            <a:lvl2pPr marL="914400" marR="0" lvl="1" indent="-317500" algn="ctr" rtl="0">
              <a:lnSpc>
                <a:spcPct val="100000"/>
              </a:lnSpc>
              <a:spcBef>
                <a:spcPts val="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2pPr>
            <a:lvl3pPr marL="1371600" marR="0" lvl="2"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3pPr>
            <a:lvl4pPr marL="1828800" marR="0" lvl="3"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4pPr>
            <a:lvl5pPr marL="2286000" marR="0" lvl="4"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5pPr>
            <a:lvl6pPr marL="2743200" marR="0" lvl="5"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6pPr>
            <a:lvl7pPr marL="3200400" marR="0" lvl="6"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7pPr>
            <a:lvl8pPr marL="3657600" marR="0" lvl="7"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8pPr>
            <a:lvl9pPr marL="4114800" marR="0" lvl="8" indent="-317500" algn="ctr" rtl="0">
              <a:lnSpc>
                <a:spcPct val="100000"/>
              </a:lnSpc>
              <a:spcBef>
                <a:spcPts val="1600"/>
              </a:spcBef>
              <a:spcAft>
                <a:spcPts val="1600"/>
              </a:spcAft>
              <a:buClr>
                <a:schemeClr val="lt1"/>
              </a:buClr>
              <a:buSzPts val="1400"/>
              <a:buFont typeface="Manrope"/>
              <a:buNone/>
              <a:defRPr sz="1400" b="0" i="0" u="none" strike="noStrike" cap="none">
                <a:solidFill>
                  <a:schemeClr val="lt1"/>
                </a:solidFill>
                <a:latin typeface="Manrope"/>
                <a:ea typeface="Manrope"/>
                <a:cs typeface="Manrope"/>
                <a:sym typeface="Manrope"/>
              </a:defRPr>
            </a:lvl9pPr>
          </a:lstStyle>
          <a:p>
            <a:pPr marL="139700" indent="0" algn="just"/>
            <a:r>
              <a:rPr lang="en-US" sz="1200" b="0" i="0">
                <a:solidFill>
                  <a:schemeClr val="bg1"/>
                </a:solidFill>
                <a:effectLst/>
                <a:latin typeface="DM Sans" pitchFamily="2" charset="77"/>
              </a:rPr>
              <a:t>Apply RFM modeling for detailed customer segmentation, identifying key groups for targeted marketing.</a:t>
            </a:r>
            <a:endParaRPr lang="zh-CN" altLang="en-US"/>
          </a:p>
        </p:txBody>
      </p:sp>
      <p:sp>
        <p:nvSpPr>
          <p:cNvPr id="32" name="Google Shape;797;p61">
            <a:extLst>
              <a:ext uri="{FF2B5EF4-FFF2-40B4-BE49-F238E27FC236}">
                <a16:creationId xmlns:a16="http://schemas.microsoft.com/office/drawing/2014/main" id="{51907D7B-66C1-81BA-C6EC-26F01DCF4B95}"/>
              </a:ext>
            </a:extLst>
          </p:cNvPr>
          <p:cNvSpPr/>
          <p:nvPr/>
        </p:nvSpPr>
        <p:spPr>
          <a:xfrm>
            <a:off x="4563763" y="2660815"/>
            <a:ext cx="572700" cy="5727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801;p61">
            <a:extLst>
              <a:ext uri="{FF2B5EF4-FFF2-40B4-BE49-F238E27FC236}">
                <a16:creationId xmlns:a16="http://schemas.microsoft.com/office/drawing/2014/main" id="{A1BDBA6E-EF93-706F-04CD-711CD6FA6DA0}"/>
              </a:ext>
            </a:extLst>
          </p:cNvPr>
          <p:cNvSpPr/>
          <p:nvPr/>
        </p:nvSpPr>
        <p:spPr>
          <a:xfrm>
            <a:off x="4563763" y="2660815"/>
            <a:ext cx="572700" cy="572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 name="Google Shape;818;p61">
            <a:extLst>
              <a:ext uri="{FF2B5EF4-FFF2-40B4-BE49-F238E27FC236}">
                <a16:creationId xmlns:a16="http://schemas.microsoft.com/office/drawing/2014/main" id="{7DA7F59F-2B80-D549-3345-F41D82A49868}"/>
              </a:ext>
            </a:extLst>
          </p:cNvPr>
          <p:cNvGrpSpPr/>
          <p:nvPr/>
        </p:nvGrpSpPr>
        <p:grpSpPr>
          <a:xfrm>
            <a:off x="4690699" y="2793732"/>
            <a:ext cx="318704" cy="306867"/>
            <a:chOff x="7181068" y="3564123"/>
            <a:chExt cx="480489" cy="462636"/>
          </a:xfrm>
        </p:grpSpPr>
        <p:sp>
          <p:nvSpPr>
            <p:cNvPr id="35" name="Google Shape;819;p61">
              <a:extLst>
                <a:ext uri="{FF2B5EF4-FFF2-40B4-BE49-F238E27FC236}">
                  <a16:creationId xmlns:a16="http://schemas.microsoft.com/office/drawing/2014/main" id="{8B0FD20B-A8CF-069C-37D2-456614F386F8}"/>
                </a:ext>
              </a:extLst>
            </p:cNvPr>
            <p:cNvSpPr/>
            <p:nvPr/>
          </p:nvSpPr>
          <p:spPr>
            <a:xfrm>
              <a:off x="7181068" y="3810981"/>
              <a:ext cx="66408" cy="215778"/>
            </a:xfrm>
            <a:custGeom>
              <a:avLst/>
              <a:gdLst/>
              <a:ahLst/>
              <a:cxnLst/>
              <a:rect l="l" t="t" r="r" b="b"/>
              <a:pathLst>
                <a:path w="2455" h="7977" extrusionOk="0">
                  <a:moveTo>
                    <a:pt x="1955" y="1"/>
                  </a:moveTo>
                  <a:lnTo>
                    <a:pt x="509" y="1"/>
                  </a:lnTo>
                  <a:cubicBezTo>
                    <a:pt x="233" y="1"/>
                    <a:pt x="1" y="224"/>
                    <a:pt x="1" y="500"/>
                  </a:cubicBezTo>
                  <a:lnTo>
                    <a:pt x="1" y="7477"/>
                  </a:lnTo>
                  <a:cubicBezTo>
                    <a:pt x="1" y="7753"/>
                    <a:pt x="233" y="7976"/>
                    <a:pt x="509" y="7976"/>
                  </a:cubicBezTo>
                  <a:lnTo>
                    <a:pt x="1955" y="7976"/>
                  </a:lnTo>
                  <a:cubicBezTo>
                    <a:pt x="2231" y="7976"/>
                    <a:pt x="2454" y="7753"/>
                    <a:pt x="2454" y="7477"/>
                  </a:cubicBezTo>
                  <a:lnTo>
                    <a:pt x="2454" y="500"/>
                  </a:lnTo>
                  <a:cubicBezTo>
                    <a:pt x="2454" y="224"/>
                    <a:pt x="2231" y="1"/>
                    <a:pt x="19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6" name="Google Shape;820;p61">
              <a:extLst>
                <a:ext uri="{FF2B5EF4-FFF2-40B4-BE49-F238E27FC236}">
                  <a16:creationId xmlns:a16="http://schemas.microsoft.com/office/drawing/2014/main" id="{98697570-B03B-D298-7AEF-22D14BDCEC41}"/>
                </a:ext>
              </a:extLst>
            </p:cNvPr>
            <p:cNvSpPr/>
            <p:nvPr/>
          </p:nvSpPr>
          <p:spPr>
            <a:xfrm>
              <a:off x="7389813" y="3564123"/>
              <a:ext cx="47094" cy="48284"/>
            </a:xfrm>
            <a:custGeom>
              <a:avLst/>
              <a:gdLst/>
              <a:ahLst/>
              <a:cxnLst/>
              <a:rect l="l" t="t" r="r" b="b"/>
              <a:pathLst>
                <a:path w="1741" h="1785" extrusionOk="0">
                  <a:moveTo>
                    <a:pt x="1089" y="1464"/>
                  </a:moveTo>
                  <a:lnTo>
                    <a:pt x="1740" y="1785"/>
                  </a:lnTo>
                  <a:lnTo>
                    <a:pt x="1740" y="1"/>
                  </a:lnTo>
                  <a:lnTo>
                    <a:pt x="1" y="1"/>
                  </a:lnTo>
                  <a:lnTo>
                    <a:pt x="1" y="1785"/>
                  </a:lnTo>
                  <a:lnTo>
                    <a:pt x="652" y="1464"/>
                  </a:lnTo>
                  <a:cubicBezTo>
                    <a:pt x="786" y="1392"/>
                    <a:pt x="946" y="1392"/>
                    <a:pt x="1089" y="146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7" name="Google Shape;821;p61">
              <a:extLst>
                <a:ext uri="{FF2B5EF4-FFF2-40B4-BE49-F238E27FC236}">
                  <a16:creationId xmlns:a16="http://schemas.microsoft.com/office/drawing/2014/main" id="{7EDE5525-DC35-F7D2-7538-335F1F9FE5CD}"/>
                </a:ext>
              </a:extLst>
            </p:cNvPr>
            <p:cNvSpPr/>
            <p:nvPr/>
          </p:nvSpPr>
          <p:spPr>
            <a:xfrm>
              <a:off x="7289917" y="3564123"/>
              <a:ext cx="245912" cy="245939"/>
            </a:xfrm>
            <a:custGeom>
              <a:avLst/>
              <a:gdLst/>
              <a:ahLst/>
              <a:cxnLst/>
              <a:rect l="l" t="t" r="r" b="b"/>
              <a:pathLst>
                <a:path w="9091" h="9092" extrusionOk="0">
                  <a:moveTo>
                    <a:pt x="509" y="9091"/>
                  </a:moveTo>
                  <a:lnTo>
                    <a:pt x="8591" y="9091"/>
                  </a:lnTo>
                  <a:cubicBezTo>
                    <a:pt x="8868" y="9091"/>
                    <a:pt x="9091" y="8868"/>
                    <a:pt x="9091" y="8592"/>
                  </a:cubicBezTo>
                  <a:lnTo>
                    <a:pt x="9091" y="509"/>
                  </a:lnTo>
                  <a:cubicBezTo>
                    <a:pt x="9091" y="233"/>
                    <a:pt x="8868" y="1"/>
                    <a:pt x="8591" y="1"/>
                  </a:cubicBezTo>
                  <a:lnTo>
                    <a:pt x="6441" y="1"/>
                  </a:lnTo>
                  <a:lnTo>
                    <a:pt x="6441" y="2570"/>
                  </a:lnTo>
                  <a:cubicBezTo>
                    <a:pt x="6441" y="2829"/>
                    <a:pt x="6263" y="3043"/>
                    <a:pt x="6013" y="3078"/>
                  </a:cubicBezTo>
                  <a:cubicBezTo>
                    <a:pt x="5888" y="3096"/>
                    <a:pt x="5781" y="3069"/>
                    <a:pt x="5683" y="3016"/>
                  </a:cubicBezTo>
                  <a:lnTo>
                    <a:pt x="4568" y="2472"/>
                  </a:lnTo>
                  <a:lnTo>
                    <a:pt x="3408" y="3034"/>
                  </a:lnTo>
                  <a:cubicBezTo>
                    <a:pt x="3167" y="3159"/>
                    <a:pt x="2864" y="3052"/>
                    <a:pt x="2739" y="2811"/>
                  </a:cubicBezTo>
                  <a:cubicBezTo>
                    <a:pt x="2703" y="2739"/>
                    <a:pt x="2685" y="2659"/>
                    <a:pt x="2685" y="2588"/>
                  </a:cubicBezTo>
                  <a:lnTo>
                    <a:pt x="2685" y="2588"/>
                  </a:lnTo>
                  <a:lnTo>
                    <a:pt x="2685" y="1"/>
                  </a:lnTo>
                  <a:lnTo>
                    <a:pt x="509" y="1"/>
                  </a:lnTo>
                  <a:cubicBezTo>
                    <a:pt x="232" y="1"/>
                    <a:pt x="0" y="233"/>
                    <a:pt x="0" y="509"/>
                  </a:cubicBezTo>
                  <a:lnTo>
                    <a:pt x="0" y="8592"/>
                  </a:lnTo>
                  <a:cubicBezTo>
                    <a:pt x="0" y="8868"/>
                    <a:pt x="232" y="9091"/>
                    <a:pt x="509" y="909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38" name="Google Shape;822;p61">
              <a:extLst>
                <a:ext uri="{FF2B5EF4-FFF2-40B4-BE49-F238E27FC236}">
                  <a16:creationId xmlns:a16="http://schemas.microsoft.com/office/drawing/2014/main" id="{11EDDA76-35B3-DD47-779E-93F48ECE0C86}"/>
                </a:ext>
              </a:extLst>
            </p:cNvPr>
            <p:cNvSpPr/>
            <p:nvPr/>
          </p:nvSpPr>
          <p:spPr>
            <a:xfrm>
              <a:off x="7274715" y="3849852"/>
              <a:ext cx="386842" cy="162895"/>
            </a:xfrm>
            <a:custGeom>
              <a:avLst/>
              <a:gdLst/>
              <a:ahLst/>
              <a:cxnLst/>
              <a:rect l="l" t="t" r="r" b="b"/>
              <a:pathLst>
                <a:path w="14301" h="6022" extrusionOk="0">
                  <a:moveTo>
                    <a:pt x="11294" y="544"/>
                  </a:moveTo>
                  <a:lnTo>
                    <a:pt x="7485" y="1561"/>
                  </a:lnTo>
                  <a:cubicBezTo>
                    <a:pt x="7467" y="696"/>
                    <a:pt x="6753" y="0"/>
                    <a:pt x="5879" y="0"/>
                  </a:cubicBezTo>
                  <a:lnTo>
                    <a:pt x="0" y="0"/>
                  </a:lnTo>
                  <a:lnTo>
                    <a:pt x="0" y="5611"/>
                  </a:lnTo>
                  <a:cubicBezTo>
                    <a:pt x="2141" y="6022"/>
                    <a:pt x="4291" y="5924"/>
                    <a:pt x="6254" y="5611"/>
                  </a:cubicBezTo>
                  <a:cubicBezTo>
                    <a:pt x="8707" y="5228"/>
                    <a:pt x="10848" y="4496"/>
                    <a:pt x="12302" y="3988"/>
                  </a:cubicBezTo>
                  <a:cubicBezTo>
                    <a:pt x="12775" y="3818"/>
                    <a:pt x="13177" y="3542"/>
                    <a:pt x="13417" y="3167"/>
                  </a:cubicBezTo>
                  <a:cubicBezTo>
                    <a:pt x="14301" y="1802"/>
                    <a:pt x="12811" y="98"/>
                    <a:pt x="11294" y="54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sp>
        <p:nvSpPr>
          <p:cNvPr id="39" name="Google Shape;790;p61">
            <a:extLst>
              <a:ext uri="{FF2B5EF4-FFF2-40B4-BE49-F238E27FC236}">
                <a16:creationId xmlns:a16="http://schemas.microsoft.com/office/drawing/2014/main" id="{38D1C866-4A4B-46B9-67B4-BC4846BE56EB}"/>
              </a:ext>
            </a:extLst>
          </p:cNvPr>
          <p:cNvSpPr txBox="1">
            <a:spLocks/>
          </p:cNvSpPr>
          <p:nvPr/>
        </p:nvSpPr>
        <p:spPr>
          <a:xfrm>
            <a:off x="6126405" y="3253146"/>
            <a:ext cx="2930700" cy="4662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i="0">
                <a:solidFill>
                  <a:schemeClr val="bg1"/>
                </a:solidFill>
                <a:effectLst/>
                <a:latin typeface="DM Sans" pitchFamily="2" charset="77"/>
              </a:rPr>
              <a:t>Strategic</a:t>
            </a:r>
          </a:p>
          <a:p>
            <a:pPr algn="ctr"/>
            <a:r>
              <a:rPr lang="en-US" b="1" i="0">
                <a:solidFill>
                  <a:schemeClr val="bg1"/>
                </a:solidFill>
                <a:effectLst/>
                <a:latin typeface="DM Sans" pitchFamily="2" charset="77"/>
              </a:rPr>
              <a:t> Recommendations</a:t>
            </a:r>
            <a:endParaRPr lang="en-US"/>
          </a:p>
        </p:txBody>
      </p:sp>
      <p:sp>
        <p:nvSpPr>
          <p:cNvPr id="40" name="Google Shape;791;p61">
            <a:extLst>
              <a:ext uri="{FF2B5EF4-FFF2-40B4-BE49-F238E27FC236}">
                <a16:creationId xmlns:a16="http://schemas.microsoft.com/office/drawing/2014/main" id="{76B9F210-0F5D-8FF7-146E-60468ECC98B7}"/>
              </a:ext>
            </a:extLst>
          </p:cNvPr>
          <p:cNvSpPr txBox="1">
            <a:spLocks/>
          </p:cNvSpPr>
          <p:nvPr/>
        </p:nvSpPr>
        <p:spPr>
          <a:xfrm>
            <a:off x="6354941" y="3681171"/>
            <a:ext cx="2626395" cy="12124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ctr" rtl="0">
              <a:lnSpc>
                <a:spcPct val="100000"/>
              </a:lnSpc>
              <a:spcBef>
                <a:spcPts val="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1pPr>
            <a:lvl2pPr marL="914400" marR="0" lvl="1" indent="-317500" algn="ctr" rtl="0">
              <a:lnSpc>
                <a:spcPct val="100000"/>
              </a:lnSpc>
              <a:spcBef>
                <a:spcPts val="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2pPr>
            <a:lvl3pPr marL="1371600" marR="0" lvl="2"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3pPr>
            <a:lvl4pPr marL="1828800" marR="0" lvl="3"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4pPr>
            <a:lvl5pPr marL="2286000" marR="0" lvl="4"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5pPr>
            <a:lvl6pPr marL="2743200" marR="0" lvl="5"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6pPr>
            <a:lvl7pPr marL="3200400" marR="0" lvl="6"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7pPr>
            <a:lvl8pPr marL="3657600" marR="0" lvl="7" indent="-317500" algn="ctr" rtl="0">
              <a:lnSpc>
                <a:spcPct val="100000"/>
              </a:lnSpc>
              <a:spcBef>
                <a:spcPts val="1600"/>
              </a:spcBef>
              <a:spcAft>
                <a:spcPts val="0"/>
              </a:spcAft>
              <a:buClr>
                <a:schemeClr val="lt1"/>
              </a:buClr>
              <a:buSzPts val="1400"/>
              <a:buFont typeface="Manrope"/>
              <a:buNone/>
              <a:defRPr sz="1400" b="0" i="0" u="none" strike="noStrike" cap="none">
                <a:solidFill>
                  <a:schemeClr val="lt1"/>
                </a:solidFill>
                <a:latin typeface="Manrope"/>
                <a:ea typeface="Manrope"/>
                <a:cs typeface="Manrope"/>
                <a:sym typeface="Manrope"/>
              </a:defRPr>
            </a:lvl8pPr>
            <a:lvl9pPr marL="4114800" marR="0" lvl="8" indent="-317500" algn="ctr" rtl="0">
              <a:lnSpc>
                <a:spcPct val="100000"/>
              </a:lnSpc>
              <a:spcBef>
                <a:spcPts val="1600"/>
              </a:spcBef>
              <a:spcAft>
                <a:spcPts val="1600"/>
              </a:spcAft>
              <a:buClr>
                <a:schemeClr val="lt1"/>
              </a:buClr>
              <a:buSzPts val="1400"/>
              <a:buFont typeface="Manrope"/>
              <a:buNone/>
              <a:defRPr sz="1400" b="0" i="0" u="none" strike="noStrike" cap="none">
                <a:solidFill>
                  <a:schemeClr val="lt1"/>
                </a:solidFill>
                <a:latin typeface="Manrope"/>
                <a:ea typeface="Manrope"/>
                <a:cs typeface="Manrope"/>
                <a:sym typeface="Manrope"/>
              </a:defRPr>
            </a:lvl9pPr>
          </a:lstStyle>
          <a:p>
            <a:pPr marL="139700" indent="0"/>
            <a:r>
              <a:rPr lang="en-US" sz="1200" b="0" i="0">
                <a:solidFill>
                  <a:schemeClr val="bg1"/>
                </a:solidFill>
                <a:effectLst/>
                <a:latin typeface="DM Sans"/>
              </a:rPr>
              <a:t>Formulate actionable strategies for </a:t>
            </a:r>
            <a:r>
              <a:rPr lang="en-US" sz="1200" b="0" i="0" err="1">
                <a:solidFill>
                  <a:schemeClr val="bg1"/>
                </a:solidFill>
                <a:effectLst/>
                <a:latin typeface="DM Sans"/>
              </a:rPr>
              <a:t>Olist</a:t>
            </a:r>
            <a:r>
              <a:rPr lang="en-US" sz="1200" b="0" i="0">
                <a:solidFill>
                  <a:schemeClr val="bg1"/>
                </a:solidFill>
                <a:effectLst/>
                <a:latin typeface="DM Sans"/>
              </a:rPr>
              <a:t> to optimize their product offerings, marketing tactics, and sales strategies, aiming to boost their market position and sales.</a:t>
            </a:r>
            <a:endParaRPr lang="zh-CN" altLang="en-US">
              <a:solidFill>
                <a:schemeClr val="bg1"/>
              </a:solidFill>
              <a:latin typeface="DM Sans"/>
            </a:endParaRPr>
          </a:p>
        </p:txBody>
      </p:sp>
      <p:sp>
        <p:nvSpPr>
          <p:cNvPr id="41" name="Google Shape;797;p61">
            <a:extLst>
              <a:ext uri="{FF2B5EF4-FFF2-40B4-BE49-F238E27FC236}">
                <a16:creationId xmlns:a16="http://schemas.microsoft.com/office/drawing/2014/main" id="{1483F765-79D9-4C5C-6E76-B1B15280A56C}"/>
              </a:ext>
            </a:extLst>
          </p:cNvPr>
          <p:cNvSpPr/>
          <p:nvPr/>
        </p:nvSpPr>
        <p:spPr>
          <a:xfrm>
            <a:off x="7338400" y="2663846"/>
            <a:ext cx="572700" cy="5727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801;p61">
            <a:extLst>
              <a:ext uri="{FF2B5EF4-FFF2-40B4-BE49-F238E27FC236}">
                <a16:creationId xmlns:a16="http://schemas.microsoft.com/office/drawing/2014/main" id="{FF3BF040-9C7B-0D50-FD73-3AA38F5DC81D}"/>
              </a:ext>
            </a:extLst>
          </p:cNvPr>
          <p:cNvSpPr/>
          <p:nvPr/>
        </p:nvSpPr>
        <p:spPr>
          <a:xfrm>
            <a:off x="7338400" y="2663846"/>
            <a:ext cx="572700" cy="572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3" name="Google Shape;818;p61">
            <a:extLst>
              <a:ext uri="{FF2B5EF4-FFF2-40B4-BE49-F238E27FC236}">
                <a16:creationId xmlns:a16="http://schemas.microsoft.com/office/drawing/2014/main" id="{1CCD23A9-53EA-1BF4-F5B2-03A88F90DA40}"/>
              </a:ext>
            </a:extLst>
          </p:cNvPr>
          <p:cNvGrpSpPr/>
          <p:nvPr/>
        </p:nvGrpSpPr>
        <p:grpSpPr>
          <a:xfrm>
            <a:off x="7465336" y="2796763"/>
            <a:ext cx="318704" cy="306867"/>
            <a:chOff x="7181068" y="3564123"/>
            <a:chExt cx="480489" cy="462636"/>
          </a:xfrm>
        </p:grpSpPr>
        <p:sp>
          <p:nvSpPr>
            <p:cNvPr id="44" name="Google Shape;819;p61">
              <a:extLst>
                <a:ext uri="{FF2B5EF4-FFF2-40B4-BE49-F238E27FC236}">
                  <a16:creationId xmlns:a16="http://schemas.microsoft.com/office/drawing/2014/main" id="{5FEE4D7D-E869-8314-CE90-6F9011152855}"/>
                </a:ext>
              </a:extLst>
            </p:cNvPr>
            <p:cNvSpPr/>
            <p:nvPr/>
          </p:nvSpPr>
          <p:spPr>
            <a:xfrm>
              <a:off x="7181068" y="3810981"/>
              <a:ext cx="66408" cy="215778"/>
            </a:xfrm>
            <a:custGeom>
              <a:avLst/>
              <a:gdLst/>
              <a:ahLst/>
              <a:cxnLst/>
              <a:rect l="l" t="t" r="r" b="b"/>
              <a:pathLst>
                <a:path w="2455" h="7977" extrusionOk="0">
                  <a:moveTo>
                    <a:pt x="1955" y="1"/>
                  </a:moveTo>
                  <a:lnTo>
                    <a:pt x="509" y="1"/>
                  </a:lnTo>
                  <a:cubicBezTo>
                    <a:pt x="233" y="1"/>
                    <a:pt x="1" y="224"/>
                    <a:pt x="1" y="500"/>
                  </a:cubicBezTo>
                  <a:lnTo>
                    <a:pt x="1" y="7477"/>
                  </a:lnTo>
                  <a:cubicBezTo>
                    <a:pt x="1" y="7753"/>
                    <a:pt x="233" y="7976"/>
                    <a:pt x="509" y="7976"/>
                  </a:cubicBezTo>
                  <a:lnTo>
                    <a:pt x="1955" y="7976"/>
                  </a:lnTo>
                  <a:cubicBezTo>
                    <a:pt x="2231" y="7976"/>
                    <a:pt x="2454" y="7753"/>
                    <a:pt x="2454" y="7477"/>
                  </a:cubicBezTo>
                  <a:lnTo>
                    <a:pt x="2454" y="500"/>
                  </a:lnTo>
                  <a:cubicBezTo>
                    <a:pt x="2454" y="224"/>
                    <a:pt x="2231" y="1"/>
                    <a:pt x="19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45" name="Google Shape;820;p61">
              <a:extLst>
                <a:ext uri="{FF2B5EF4-FFF2-40B4-BE49-F238E27FC236}">
                  <a16:creationId xmlns:a16="http://schemas.microsoft.com/office/drawing/2014/main" id="{8DF5B019-8261-12C0-BE5C-FE9C148FB719}"/>
                </a:ext>
              </a:extLst>
            </p:cNvPr>
            <p:cNvSpPr/>
            <p:nvPr/>
          </p:nvSpPr>
          <p:spPr>
            <a:xfrm>
              <a:off x="7389813" y="3564123"/>
              <a:ext cx="47094" cy="48284"/>
            </a:xfrm>
            <a:custGeom>
              <a:avLst/>
              <a:gdLst/>
              <a:ahLst/>
              <a:cxnLst/>
              <a:rect l="l" t="t" r="r" b="b"/>
              <a:pathLst>
                <a:path w="1741" h="1785" extrusionOk="0">
                  <a:moveTo>
                    <a:pt x="1089" y="1464"/>
                  </a:moveTo>
                  <a:lnTo>
                    <a:pt x="1740" y="1785"/>
                  </a:lnTo>
                  <a:lnTo>
                    <a:pt x="1740" y="1"/>
                  </a:lnTo>
                  <a:lnTo>
                    <a:pt x="1" y="1"/>
                  </a:lnTo>
                  <a:lnTo>
                    <a:pt x="1" y="1785"/>
                  </a:lnTo>
                  <a:lnTo>
                    <a:pt x="652" y="1464"/>
                  </a:lnTo>
                  <a:cubicBezTo>
                    <a:pt x="786" y="1392"/>
                    <a:pt x="946" y="1392"/>
                    <a:pt x="1089" y="146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46" name="Google Shape;821;p61">
              <a:extLst>
                <a:ext uri="{FF2B5EF4-FFF2-40B4-BE49-F238E27FC236}">
                  <a16:creationId xmlns:a16="http://schemas.microsoft.com/office/drawing/2014/main" id="{1F4FC960-3942-AFDD-2865-6FD27CEEE726}"/>
                </a:ext>
              </a:extLst>
            </p:cNvPr>
            <p:cNvSpPr/>
            <p:nvPr/>
          </p:nvSpPr>
          <p:spPr>
            <a:xfrm>
              <a:off x="7289917" y="3564123"/>
              <a:ext cx="245912" cy="245939"/>
            </a:xfrm>
            <a:custGeom>
              <a:avLst/>
              <a:gdLst/>
              <a:ahLst/>
              <a:cxnLst/>
              <a:rect l="l" t="t" r="r" b="b"/>
              <a:pathLst>
                <a:path w="9091" h="9092" extrusionOk="0">
                  <a:moveTo>
                    <a:pt x="509" y="9091"/>
                  </a:moveTo>
                  <a:lnTo>
                    <a:pt x="8591" y="9091"/>
                  </a:lnTo>
                  <a:cubicBezTo>
                    <a:pt x="8868" y="9091"/>
                    <a:pt x="9091" y="8868"/>
                    <a:pt x="9091" y="8592"/>
                  </a:cubicBezTo>
                  <a:lnTo>
                    <a:pt x="9091" y="509"/>
                  </a:lnTo>
                  <a:cubicBezTo>
                    <a:pt x="9091" y="233"/>
                    <a:pt x="8868" y="1"/>
                    <a:pt x="8591" y="1"/>
                  </a:cubicBezTo>
                  <a:lnTo>
                    <a:pt x="6441" y="1"/>
                  </a:lnTo>
                  <a:lnTo>
                    <a:pt x="6441" y="2570"/>
                  </a:lnTo>
                  <a:cubicBezTo>
                    <a:pt x="6441" y="2829"/>
                    <a:pt x="6263" y="3043"/>
                    <a:pt x="6013" y="3078"/>
                  </a:cubicBezTo>
                  <a:cubicBezTo>
                    <a:pt x="5888" y="3096"/>
                    <a:pt x="5781" y="3069"/>
                    <a:pt x="5683" y="3016"/>
                  </a:cubicBezTo>
                  <a:lnTo>
                    <a:pt x="4568" y="2472"/>
                  </a:lnTo>
                  <a:lnTo>
                    <a:pt x="3408" y="3034"/>
                  </a:lnTo>
                  <a:cubicBezTo>
                    <a:pt x="3167" y="3159"/>
                    <a:pt x="2864" y="3052"/>
                    <a:pt x="2739" y="2811"/>
                  </a:cubicBezTo>
                  <a:cubicBezTo>
                    <a:pt x="2703" y="2739"/>
                    <a:pt x="2685" y="2659"/>
                    <a:pt x="2685" y="2588"/>
                  </a:cubicBezTo>
                  <a:lnTo>
                    <a:pt x="2685" y="2588"/>
                  </a:lnTo>
                  <a:lnTo>
                    <a:pt x="2685" y="1"/>
                  </a:lnTo>
                  <a:lnTo>
                    <a:pt x="509" y="1"/>
                  </a:lnTo>
                  <a:cubicBezTo>
                    <a:pt x="232" y="1"/>
                    <a:pt x="0" y="233"/>
                    <a:pt x="0" y="509"/>
                  </a:cubicBezTo>
                  <a:lnTo>
                    <a:pt x="0" y="8592"/>
                  </a:lnTo>
                  <a:cubicBezTo>
                    <a:pt x="0" y="8868"/>
                    <a:pt x="232" y="9091"/>
                    <a:pt x="509" y="909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47" name="Google Shape;822;p61">
              <a:extLst>
                <a:ext uri="{FF2B5EF4-FFF2-40B4-BE49-F238E27FC236}">
                  <a16:creationId xmlns:a16="http://schemas.microsoft.com/office/drawing/2014/main" id="{0D91CB1C-F30E-853E-0935-DFF4918B8A6C}"/>
                </a:ext>
              </a:extLst>
            </p:cNvPr>
            <p:cNvSpPr/>
            <p:nvPr/>
          </p:nvSpPr>
          <p:spPr>
            <a:xfrm>
              <a:off x="7274715" y="3849852"/>
              <a:ext cx="386842" cy="162895"/>
            </a:xfrm>
            <a:custGeom>
              <a:avLst/>
              <a:gdLst/>
              <a:ahLst/>
              <a:cxnLst/>
              <a:rect l="l" t="t" r="r" b="b"/>
              <a:pathLst>
                <a:path w="14301" h="6022" extrusionOk="0">
                  <a:moveTo>
                    <a:pt x="11294" y="544"/>
                  </a:moveTo>
                  <a:lnTo>
                    <a:pt x="7485" y="1561"/>
                  </a:lnTo>
                  <a:cubicBezTo>
                    <a:pt x="7467" y="696"/>
                    <a:pt x="6753" y="0"/>
                    <a:pt x="5879" y="0"/>
                  </a:cubicBezTo>
                  <a:lnTo>
                    <a:pt x="0" y="0"/>
                  </a:lnTo>
                  <a:lnTo>
                    <a:pt x="0" y="5611"/>
                  </a:lnTo>
                  <a:cubicBezTo>
                    <a:pt x="2141" y="6022"/>
                    <a:pt x="4291" y="5924"/>
                    <a:pt x="6254" y="5611"/>
                  </a:cubicBezTo>
                  <a:cubicBezTo>
                    <a:pt x="8707" y="5228"/>
                    <a:pt x="10848" y="4496"/>
                    <a:pt x="12302" y="3988"/>
                  </a:cubicBezTo>
                  <a:cubicBezTo>
                    <a:pt x="12775" y="3818"/>
                    <a:pt x="13177" y="3542"/>
                    <a:pt x="13417" y="3167"/>
                  </a:cubicBezTo>
                  <a:cubicBezTo>
                    <a:pt x="14301" y="1802"/>
                    <a:pt x="12811" y="98"/>
                    <a:pt x="11294" y="544"/>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grpSp>
      <p:sp>
        <p:nvSpPr>
          <p:cNvPr id="48" name="TextBox 47">
            <a:extLst>
              <a:ext uri="{FF2B5EF4-FFF2-40B4-BE49-F238E27FC236}">
                <a16:creationId xmlns:a16="http://schemas.microsoft.com/office/drawing/2014/main" id="{C4D38A8B-2776-34EA-021E-C1FF2D0725F9}"/>
              </a:ext>
            </a:extLst>
          </p:cNvPr>
          <p:cNvSpPr txBox="1"/>
          <p:nvPr/>
        </p:nvSpPr>
        <p:spPr>
          <a:xfrm>
            <a:off x="412981" y="1566884"/>
            <a:ext cx="2258957" cy="1815882"/>
          </a:xfrm>
          <a:prstGeom prst="rect">
            <a:avLst/>
          </a:prstGeom>
          <a:noFill/>
        </p:spPr>
        <p:txBody>
          <a:bodyPr wrap="square" lIns="91440" tIns="45720" rIns="91440" bIns="45720" rtlCol="0" anchor="t">
            <a:spAutoFit/>
          </a:bodyPr>
          <a:lstStyle/>
          <a:p>
            <a:r>
              <a:rPr lang="en-US" b="0" i="0">
                <a:solidFill>
                  <a:schemeClr val="bg1"/>
                </a:solidFill>
                <a:effectLst/>
                <a:latin typeface="DM Sans"/>
              </a:rPr>
              <a:t>Our research aims to conduct a comprehensive analysis of Brazil's e-commerce market, focusing on </a:t>
            </a:r>
            <a:r>
              <a:rPr lang="en-US" b="0" i="0" err="1">
                <a:solidFill>
                  <a:schemeClr val="bg1"/>
                </a:solidFill>
                <a:effectLst/>
                <a:latin typeface="DM Sans"/>
              </a:rPr>
              <a:t>Olist's</a:t>
            </a:r>
            <a:r>
              <a:rPr lang="en-US" b="0" i="0">
                <a:solidFill>
                  <a:schemeClr val="bg1"/>
                </a:solidFill>
                <a:effectLst/>
                <a:latin typeface="DM Sans"/>
              </a:rPr>
              <a:t> operations. Key objectives include:</a:t>
            </a:r>
            <a:endParaRPr lang="zh-CN" altLang="en-US">
              <a:solidFill>
                <a:schemeClr val="bg1"/>
              </a:solidFill>
              <a:latin typeface="DM Sans"/>
            </a:endParaRPr>
          </a:p>
          <a:p>
            <a:endParaRPr lang="en-US"/>
          </a:p>
        </p:txBody>
      </p:sp>
      <p:grpSp>
        <p:nvGrpSpPr>
          <p:cNvPr id="49" name="Google Shape;1490;p82">
            <a:extLst>
              <a:ext uri="{FF2B5EF4-FFF2-40B4-BE49-F238E27FC236}">
                <a16:creationId xmlns:a16="http://schemas.microsoft.com/office/drawing/2014/main" id="{D8FE4C9D-EDE9-7A93-39FD-07041F42F445}"/>
              </a:ext>
            </a:extLst>
          </p:cNvPr>
          <p:cNvGrpSpPr/>
          <p:nvPr/>
        </p:nvGrpSpPr>
        <p:grpSpPr>
          <a:xfrm>
            <a:off x="2990613" y="2393325"/>
            <a:ext cx="652319" cy="302470"/>
            <a:chOff x="4756975" y="2341800"/>
            <a:chExt cx="91975" cy="51925"/>
          </a:xfr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2700000" scaled="1"/>
            <a:tileRect/>
          </a:gradFill>
        </p:grpSpPr>
        <p:sp>
          <p:nvSpPr>
            <p:cNvPr id="50" name="Google Shape;1491;p82">
              <a:extLst>
                <a:ext uri="{FF2B5EF4-FFF2-40B4-BE49-F238E27FC236}">
                  <a16:creationId xmlns:a16="http://schemas.microsoft.com/office/drawing/2014/main" id="{0A9485AC-BADD-B3C9-FF80-3336E364A374}"/>
                </a:ext>
              </a:extLst>
            </p:cNvPr>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92;p82">
              <a:extLst>
                <a:ext uri="{FF2B5EF4-FFF2-40B4-BE49-F238E27FC236}">
                  <a16:creationId xmlns:a16="http://schemas.microsoft.com/office/drawing/2014/main" id="{E89C4393-C7E8-874D-114B-434E234BF6D2}"/>
                </a:ext>
              </a:extLst>
            </p:cNvPr>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93;p82">
              <a:extLst>
                <a:ext uri="{FF2B5EF4-FFF2-40B4-BE49-F238E27FC236}">
                  <a16:creationId xmlns:a16="http://schemas.microsoft.com/office/drawing/2014/main" id="{389C0370-57E7-4E48-B7F7-88B727EAABFC}"/>
                </a:ext>
              </a:extLst>
            </p:cNvPr>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94;p82">
              <a:extLst>
                <a:ext uri="{FF2B5EF4-FFF2-40B4-BE49-F238E27FC236}">
                  <a16:creationId xmlns:a16="http://schemas.microsoft.com/office/drawing/2014/main" id="{0CBAAFDE-9140-8B7F-AA17-A9F4EB7F6A0B}"/>
                </a:ext>
              </a:extLst>
            </p:cNvPr>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95;p82">
              <a:extLst>
                <a:ext uri="{FF2B5EF4-FFF2-40B4-BE49-F238E27FC236}">
                  <a16:creationId xmlns:a16="http://schemas.microsoft.com/office/drawing/2014/main" id="{36A42436-E8DA-39A7-149E-56D06F35B6A8}"/>
                </a:ext>
              </a:extLst>
            </p:cNvPr>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496;p82">
              <a:extLst>
                <a:ext uri="{FF2B5EF4-FFF2-40B4-BE49-F238E27FC236}">
                  <a16:creationId xmlns:a16="http://schemas.microsoft.com/office/drawing/2014/main" id="{432E3BD8-F506-9DAC-DDA9-D18B09ED946C}"/>
                </a:ext>
              </a:extLst>
            </p:cNvPr>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497;p82">
              <a:extLst>
                <a:ext uri="{FF2B5EF4-FFF2-40B4-BE49-F238E27FC236}">
                  <a16:creationId xmlns:a16="http://schemas.microsoft.com/office/drawing/2014/main" id="{470A9D6A-0C0D-7A13-8718-EF3B6ACD8E66}"/>
                </a:ext>
              </a:extLst>
            </p:cNvPr>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498;p82">
              <a:extLst>
                <a:ext uri="{FF2B5EF4-FFF2-40B4-BE49-F238E27FC236}">
                  <a16:creationId xmlns:a16="http://schemas.microsoft.com/office/drawing/2014/main" id="{E15C0527-2967-26A9-4AF6-F8AAB095AEEA}"/>
                </a:ext>
              </a:extLst>
            </p:cNvPr>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499;p82">
              <a:extLst>
                <a:ext uri="{FF2B5EF4-FFF2-40B4-BE49-F238E27FC236}">
                  <a16:creationId xmlns:a16="http://schemas.microsoft.com/office/drawing/2014/main" id="{D33AD72C-0248-0120-AA5D-02B80380CD38}"/>
                </a:ext>
              </a:extLst>
            </p:cNvPr>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500;p82">
              <a:extLst>
                <a:ext uri="{FF2B5EF4-FFF2-40B4-BE49-F238E27FC236}">
                  <a16:creationId xmlns:a16="http://schemas.microsoft.com/office/drawing/2014/main" id="{6461F88D-34DE-0929-4B38-CAEBEE5D9FA2}"/>
                </a:ext>
              </a:extLst>
            </p:cNvPr>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501;p82">
              <a:extLst>
                <a:ext uri="{FF2B5EF4-FFF2-40B4-BE49-F238E27FC236}">
                  <a16:creationId xmlns:a16="http://schemas.microsoft.com/office/drawing/2014/main" id="{75213D71-EADB-6EC4-3CA0-C13B09E3135B}"/>
                </a:ext>
              </a:extLst>
            </p:cNvPr>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502;p82">
              <a:extLst>
                <a:ext uri="{FF2B5EF4-FFF2-40B4-BE49-F238E27FC236}">
                  <a16:creationId xmlns:a16="http://schemas.microsoft.com/office/drawing/2014/main" id="{FFD83BA4-0957-5578-79C9-B5142000A238}"/>
                </a:ext>
              </a:extLst>
            </p:cNvPr>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503;p82">
              <a:extLst>
                <a:ext uri="{FF2B5EF4-FFF2-40B4-BE49-F238E27FC236}">
                  <a16:creationId xmlns:a16="http://schemas.microsoft.com/office/drawing/2014/main" id="{D5C6AD1C-2EAF-997B-576A-9B8E8D6FA60E}"/>
                </a:ext>
              </a:extLst>
            </p:cNvPr>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504;p82">
              <a:extLst>
                <a:ext uri="{FF2B5EF4-FFF2-40B4-BE49-F238E27FC236}">
                  <a16:creationId xmlns:a16="http://schemas.microsoft.com/office/drawing/2014/main" id="{674E60D5-758E-3A86-9C24-E23B2679613A}"/>
                </a:ext>
              </a:extLst>
            </p:cNvPr>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1505;p82">
              <a:extLst>
                <a:ext uri="{FF2B5EF4-FFF2-40B4-BE49-F238E27FC236}">
                  <a16:creationId xmlns:a16="http://schemas.microsoft.com/office/drawing/2014/main" id="{8BB1909E-F33B-C319-7D4A-9A2FE18AFBD5}"/>
                </a:ext>
              </a:extLst>
            </p:cNvPr>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506;p82">
              <a:extLst>
                <a:ext uri="{FF2B5EF4-FFF2-40B4-BE49-F238E27FC236}">
                  <a16:creationId xmlns:a16="http://schemas.microsoft.com/office/drawing/2014/main" id="{67BB6C54-797B-3B5E-829F-F221C06EA5BB}"/>
                </a:ext>
              </a:extLst>
            </p:cNvPr>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507;p82">
              <a:extLst>
                <a:ext uri="{FF2B5EF4-FFF2-40B4-BE49-F238E27FC236}">
                  <a16:creationId xmlns:a16="http://schemas.microsoft.com/office/drawing/2014/main" id="{ED8CD2BC-E641-F7CB-6F0F-921EC3874FCC}"/>
                </a:ext>
              </a:extLst>
            </p:cNvPr>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508;p82">
              <a:extLst>
                <a:ext uri="{FF2B5EF4-FFF2-40B4-BE49-F238E27FC236}">
                  <a16:creationId xmlns:a16="http://schemas.microsoft.com/office/drawing/2014/main" id="{2CD2D857-2983-248D-DF9E-6DB4610E008C}"/>
                </a:ext>
              </a:extLst>
            </p:cNvPr>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509;p82">
              <a:extLst>
                <a:ext uri="{FF2B5EF4-FFF2-40B4-BE49-F238E27FC236}">
                  <a16:creationId xmlns:a16="http://schemas.microsoft.com/office/drawing/2014/main" id="{8EA790D5-2530-1499-CA96-E92E8694F180}"/>
                </a:ext>
              </a:extLst>
            </p:cNvPr>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510;p82">
              <a:extLst>
                <a:ext uri="{FF2B5EF4-FFF2-40B4-BE49-F238E27FC236}">
                  <a16:creationId xmlns:a16="http://schemas.microsoft.com/office/drawing/2014/main" id="{251EB3EA-F3C8-31BE-5A4F-C5DAF2FD6E1F}"/>
                </a:ext>
              </a:extLst>
            </p:cNvPr>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8" name="Google Shape;220;p41">
            <a:extLst>
              <a:ext uri="{FF2B5EF4-FFF2-40B4-BE49-F238E27FC236}">
                <a16:creationId xmlns:a16="http://schemas.microsoft.com/office/drawing/2014/main" id="{3A93567B-C239-FE6A-6D01-712F69768E4A}"/>
              </a:ext>
            </a:extLst>
          </p:cNvPr>
          <p:cNvPicPr preferRelativeResize="0"/>
          <p:nvPr/>
        </p:nvPicPr>
        <p:blipFill>
          <a:blip r:embed="rId6">
            <a:alphaModFix/>
          </a:blip>
          <a:stretch>
            <a:fillRect/>
          </a:stretch>
        </p:blipFill>
        <p:spPr>
          <a:xfrm>
            <a:off x="11325" y="3048024"/>
            <a:ext cx="2660613" cy="1815882"/>
          </a:xfrm>
          <a:prstGeom prst="rect">
            <a:avLst/>
          </a:prstGeom>
          <a:noFill/>
          <a:ln>
            <a:noFill/>
          </a:ln>
        </p:spPr>
      </p:pic>
      <p:sp>
        <p:nvSpPr>
          <p:cNvPr id="4" name="文本框 3">
            <a:extLst>
              <a:ext uri="{FF2B5EF4-FFF2-40B4-BE49-F238E27FC236}">
                <a16:creationId xmlns:a16="http://schemas.microsoft.com/office/drawing/2014/main" id="{BB0AB5DC-DA29-ED40-4BB0-C33DE70AA757}"/>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6</a:t>
            </a:r>
          </a:p>
        </p:txBody>
      </p:sp>
    </p:spTree>
    <p:extLst>
      <p:ext uri="{BB962C8B-B14F-4D97-AF65-F5344CB8AC3E}">
        <p14:creationId xmlns:p14="http://schemas.microsoft.com/office/powerpoint/2010/main" val="259811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07C553-8608-3009-53E1-B24476294BC8}"/>
              </a:ext>
            </a:extLst>
          </p:cNvPr>
          <p:cNvGraphicFramePr>
            <a:graphicFrameLocks noChangeAspect="1"/>
          </p:cNvGraphicFramePr>
          <p:nvPr>
            <p:custDataLst>
              <p:tags r:id="rId1"/>
            </p:custDataLst>
            <p:extLst>
              <p:ext uri="{D42A27DB-BD31-4B8C-83A1-F6EECF244321}">
                <p14:modId xmlns:p14="http://schemas.microsoft.com/office/powerpoint/2010/main" val="3651266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6" name="think-cell data - do not delete" hidden="1">
                        <a:extLst>
                          <a:ext uri="{FF2B5EF4-FFF2-40B4-BE49-F238E27FC236}">
                            <a16:creationId xmlns:a16="http://schemas.microsoft.com/office/drawing/2014/main" id="{2507C553-8608-3009-53E1-B24476294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4CFA0017-26A7-1BA3-905A-3EFB3A1AF7CD}"/>
              </a:ext>
            </a:extLst>
          </p:cNvPr>
          <p:cNvSpPr>
            <a:spLocks noGrp="1"/>
          </p:cNvSpPr>
          <p:nvPr>
            <p:ph type="title"/>
          </p:nvPr>
        </p:nvSpPr>
        <p:spPr>
          <a:xfrm>
            <a:off x="720000" y="299511"/>
            <a:ext cx="7704000" cy="572700"/>
          </a:xfrm>
        </p:spPr>
        <p:txBody>
          <a:bodyPr vert="horz"/>
          <a:lstStyle/>
          <a:p>
            <a:r>
              <a:rPr lang="en-US" altLang="zh-CN"/>
              <a:t>Business Use Case</a:t>
            </a:r>
            <a:endParaRPr lang="zh-CN" altLang="en-US"/>
          </a:p>
        </p:txBody>
      </p:sp>
      <p:graphicFrame>
        <p:nvGraphicFramePr>
          <p:cNvPr id="10" name="表格 3">
            <a:extLst>
              <a:ext uri="{FF2B5EF4-FFF2-40B4-BE49-F238E27FC236}">
                <a16:creationId xmlns:a16="http://schemas.microsoft.com/office/drawing/2014/main" id="{9A7E940E-5790-1B39-34E9-8ADFA958BD35}"/>
              </a:ext>
            </a:extLst>
          </p:cNvPr>
          <p:cNvGraphicFramePr>
            <a:graphicFrameLocks noGrp="1"/>
          </p:cNvGraphicFramePr>
          <p:nvPr>
            <p:extLst>
              <p:ext uri="{D42A27DB-BD31-4B8C-83A1-F6EECF244321}">
                <p14:modId xmlns:p14="http://schemas.microsoft.com/office/powerpoint/2010/main" val="2738597914"/>
              </p:ext>
            </p:extLst>
          </p:nvPr>
        </p:nvGraphicFramePr>
        <p:xfrm>
          <a:off x="632221" y="1003997"/>
          <a:ext cx="7879557" cy="3610177"/>
        </p:xfrm>
        <a:graphic>
          <a:graphicData uri="http://schemas.openxmlformats.org/drawingml/2006/table">
            <a:tbl>
              <a:tblPr firstRow="1" bandRow="1">
                <a:tableStyleId>{5C22544A-7EE6-4342-B048-85BDC9FD1C3A}</a:tableStyleId>
              </a:tblPr>
              <a:tblGrid>
                <a:gridCol w="2421732">
                  <a:extLst>
                    <a:ext uri="{9D8B030D-6E8A-4147-A177-3AD203B41FA5}">
                      <a16:colId xmlns:a16="http://schemas.microsoft.com/office/drawing/2014/main" val="920872081"/>
                    </a:ext>
                  </a:extLst>
                </a:gridCol>
                <a:gridCol w="3071812">
                  <a:extLst>
                    <a:ext uri="{9D8B030D-6E8A-4147-A177-3AD203B41FA5}">
                      <a16:colId xmlns:a16="http://schemas.microsoft.com/office/drawing/2014/main" val="2247020507"/>
                    </a:ext>
                  </a:extLst>
                </a:gridCol>
                <a:gridCol w="2386013">
                  <a:extLst>
                    <a:ext uri="{9D8B030D-6E8A-4147-A177-3AD203B41FA5}">
                      <a16:colId xmlns:a16="http://schemas.microsoft.com/office/drawing/2014/main" val="1337515812"/>
                    </a:ext>
                  </a:extLst>
                </a:gridCol>
              </a:tblGrid>
              <a:tr h="348817">
                <a:tc>
                  <a:txBody>
                    <a:bodyPr/>
                    <a:lstStyle/>
                    <a:p>
                      <a:pPr algn="l"/>
                      <a:r>
                        <a:rPr lang="en-US" altLang="zh-CN"/>
                        <a:t>Role</a:t>
                      </a:r>
                      <a:endParaRPr lang="zh-CN" altLang="en-US"/>
                    </a:p>
                  </a:txBody>
                  <a:tcPr anchor="ctr"/>
                </a:tc>
                <a:tc>
                  <a:txBody>
                    <a:bodyPr/>
                    <a:lstStyle/>
                    <a:p>
                      <a:pPr algn="l"/>
                      <a:r>
                        <a:rPr lang="en-US" altLang="zh-CN"/>
                        <a:t>Incentive</a:t>
                      </a:r>
                      <a:endParaRPr lang="zh-CN" altLang="en-US"/>
                    </a:p>
                  </a:txBody>
                  <a:tcPr anchor="ctr"/>
                </a:tc>
                <a:tc>
                  <a:txBody>
                    <a:bodyPr/>
                    <a:lstStyle/>
                    <a:p>
                      <a:pPr algn="l"/>
                      <a:r>
                        <a:rPr lang="en-US" altLang="zh-CN"/>
                        <a:t>Business Use</a:t>
                      </a:r>
                      <a:endParaRPr lang="zh-CN" altLang="en-US"/>
                    </a:p>
                  </a:txBody>
                  <a:tcPr anchor="ctr"/>
                </a:tc>
                <a:extLst>
                  <a:ext uri="{0D108BD9-81ED-4DB2-BD59-A6C34878D82A}">
                    <a16:rowId xmlns:a16="http://schemas.microsoft.com/office/drawing/2014/main" val="1336854878"/>
                  </a:ext>
                </a:extLst>
              </a:tr>
              <a:tr h="813205">
                <a:tc>
                  <a:txBody>
                    <a:bodyPr/>
                    <a:lstStyle/>
                    <a:p>
                      <a:pPr algn="l"/>
                      <a:r>
                        <a:rPr lang="en-US" altLang="zh-CN"/>
                        <a:t>E-Commerce Platform: </a:t>
                      </a:r>
                      <a:r>
                        <a:rPr lang="en-US" altLang="zh-CN" err="1"/>
                        <a:t>Olist</a:t>
                      </a:r>
                      <a:endParaRPr lang="zh-CN" altLang="en-US"/>
                    </a:p>
                  </a:txBody>
                  <a:tcPr anchor="ctr"/>
                </a:tc>
                <a:tc>
                  <a:txBody>
                    <a:bodyPr/>
                    <a:lstStyle/>
                    <a:p>
                      <a:pPr marL="285750" indent="-285750" algn="l">
                        <a:buFont typeface="Arial" panose="020B0604020202020204" pitchFamily="34" charset="0"/>
                        <a:buChar char="•"/>
                      </a:pPr>
                      <a:r>
                        <a:rPr lang="en-US" altLang="zh-CN"/>
                        <a:t>Understand</a:t>
                      </a:r>
                      <a:r>
                        <a:rPr lang="zh-CN" altLang="en-US"/>
                        <a:t> </a:t>
                      </a:r>
                      <a:r>
                        <a:rPr lang="en-US" altLang="zh-CN"/>
                        <a:t>purchasing</a:t>
                      </a:r>
                      <a:r>
                        <a:rPr lang="zh-CN" altLang="en-US"/>
                        <a:t> </a:t>
                      </a:r>
                      <a:r>
                        <a:rPr lang="en-US" altLang="zh-CN"/>
                        <a:t>patterns</a:t>
                      </a:r>
                    </a:p>
                    <a:p>
                      <a:pPr marL="285750" indent="-285750" algn="l">
                        <a:buFont typeface="Arial" panose="020B0604020202020204" pitchFamily="34" charset="0"/>
                        <a:buChar char="•"/>
                      </a:pPr>
                      <a:r>
                        <a:rPr lang="en-US" altLang="zh-CN"/>
                        <a:t>Optimize product recommendation algorithms</a:t>
                      </a:r>
                    </a:p>
                    <a:p>
                      <a:pPr marL="285750" indent="-285750" algn="l">
                        <a:buFont typeface="Arial" panose="020B0604020202020204" pitchFamily="34" charset="0"/>
                        <a:buChar char="•"/>
                      </a:pPr>
                      <a:r>
                        <a:rPr lang="en-US" altLang="zh-CN"/>
                        <a:t>Improve customer engagement and retention</a:t>
                      </a:r>
                      <a:endParaRPr lang="zh-CN" altLang="en-US"/>
                    </a:p>
                  </a:txBody>
                  <a:tcPr anchor="ctr"/>
                </a:tc>
                <a:tc>
                  <a:txBody>
                    <a:bodyPr/>
                    <a:lstStyle/>
                    <a:p>
                      <a:pPr algn="l"/>
                      <a:r>
                        <a:rPr lang="en-US" altLang="zh-CN"/>
                        <a:t>Use customer behavior data to enhance recommendation engines and personalize shopping experience</a:t>
                      </a:r>
                      <a:endParaRPr lang="zh-CN" altLang="en-US"/>
                    </a:p>
                  </a:txBody>
                  <a:tcPr anchor="ctr"/>
                </a:tc>
                <a:extLst>
                  <a:ext uri="{0D108BD9-81ED-4DB2-BD59-A6C34878D82A}">
                    <a16:rowId xmlns:a16="http://schemas.microsoft.com/office/drawing/2014/main" val="1647269208"/>
                  </a:ext>
                </a:extLst>
              </a:tr>
              <a:tr h="813205">
                <a:tc>
                  <a:txBody>
                    <a:bodyPr/>
                    <a:lstStyle/>
                    <a:p>
                      <a:pPr algn="l"/>
                      <a:r>
                        <a:rPr lang="en-US" altLang="zh-CN"/>
                        <a:t>Seller</a:t>
                      </a:r>
                      <a:endParaRPr lang="zh-CN" altLang="en-US"/>
                    </a:p>
                  </a:txBody>
                  <a:tcPr anchor="ctr"/>
                </a:tc>
                <a:tc>
                  <a:txBody>
                    <a:bodyPr/>
                    <a:lstStyle/>
                    <a:p>
                      <a:pPr marL="285750" indent="-285750" algn="l">
                        <a:buFont typeface="Arial" panose="020B0604020202020204" pitchFamily="34" charset="0"/>
                        <a:buChar char="•"/>
                      </a:pPr>
                      <a:r>
                        <a:rPr lang="en-US" altLang="zh-CN"/>
                        <a:t>Increase sales revenue</a:t>
                      </a:r>
                    </a:p>
                    <a:p>
                      <a:pPr marL="285750" indent="-285750" algn="l">
                        <a:buFont typeface="Arial" panose="020B0604020202020204" pitchFamily="34" charset="0"/>
                        <a:buChar char="•"/>
                      </a:pPr>
                      <a:r>
                        <a:rPr lang="en-US" altLang="zh-CN"/>
                        <a:t>Reduce inventory costs</a:t>
                      </a:r>
                    </a:p>
                    <a:p>
                      <a:pPr marL="285750" indent="-285750" algn="l">
                        <a:buFont typeface="Arial" panose="020B0604020202020204" pitchFamily="34" charset="0"/>
                        <a:buChar char="•"/>
                      </a:pPr>
                      <a:r>
                        <a:rPr lang="en-US" altLang="zh-CN"/>
                        <a:t>Understand product performance</a:t>
                      </a:r>
                      <a:endParaRPr lang="zh-CN" altLang="en-US"/>
                    </a:p>
                  </a:txBody>
                  <a:tcPr anchor="ctr"/>
                </a:tc>
                <a:tc>
                  <a:txBody>
                    <a:bodyPr/>
                    <a:lstStyle/>
                    <a:p>
                      <a:pPr algn="l"/>
                      <a:r>
                        <a:rPr lang="en-US" altLang="zh-CN"/>
                        <a:t>Analyze customer feedback and purchasing trends to optimize stock and improve product listings</a:t>
                      </a:r>
                      <a:endParaRPr lang="zh-CN" altLang="en-US"/>
                    </a:p>
                  </a:txBody>
                  <a:tcPr anchor="ctr"/>
                </a:tc>
                <a:extLst>
                  <a:ext uri="{0D108BD9-81ED-4DB2-BD59-A6C34878D82A}">
                    <a16:rowId xmlns:a16="http://schemas.microsoft.com/office/drawing/2014/main" val="2650503609"/>
                  </a:ext>
                </a:extLst>
              </a:tr>
              <a:tr h="881012">
                <a:tc>
                  <a:txBody>
                    <a:bodyPr/>
                    <a:lstStyle/>
                    <a:p>
                      <a:pPr algn="l"/>
                      <a:r>
                        <a:rPr lang="en-US" altLang="zh-CN"/>
                        <a:t>Customer</a:t>
                      </a:r>
                      <a:endParaRPr lang="zh-CN" altLang="en-US"/>
                    </a:p>
                  </a:txBody>
                  <a:tcPr anchor="ctr"/>
                </a:tc>
                <a:tc>
                  <a:txBody>
                    <a:bodyPr/>
                    <a:lstStyle/>
                    <a:p>
                      <a:pPr marL="285750" indent="-285750" algn="l">
                        <a:buFont typeface="Arial" panose="020B0604020202020204" pitchFamily="34" charset="0"/>
                        <a:buChar char="•"/>
                      </a:pPr>
                      <a:r>
                        <a:rPr lang="en-US" altLang="zh-CN"/>
                        <a:t>Find products more efficiently</a:t>
                      </a:r>
                    </a:p>
                    <a:p>
                      <a:pPr marL="285750" indent="-285750" algn="l">
                        <a:buFont typeface="Arial" panose="020B0604020202020204" pitchFamily="34" charset="0"/>
                        <a:buChar char="•"/>
                      </a:pPr>
                      <a:r>
                        <a:rPr lang="en-US" altLang="zh-CN"/>
                        <a:t>Receive personalized recommendations</a:t>
                      </a:r>
                    </a:p>
                    <a:p>
                      <a:pPr marL="285750" indent="-285750" algn="l">
                        <a:buFont typeface="Arial" panose="020B0604020202020204" pitchFamily="34" charset="0"/>
                        <a:buChar char="•"/>
                      </a:pPr>
                      <a:r>
                        <a:rPr lang="en-US" altLang="zh-CN"/>
                        <a:t>Experience a streamlined shopping process</a:t>
                      </a:r>
                      <a:endParaRPr lang="zh-CN" altLang="en-US"/>
                    </a:p>
                  </a:txBody>
                  <a:tcPr anchor="ctr"/>
                </a:tc>
                <a:tc>
                  <a:txBody>
                    <a:bodyPr/>
                    <a:lstStyle/>
                    <a:p>
                      <a:pPr algn="l"/>
                      <a:r>
                        <a:rPr lang="en-US" altLang="zh-CN"/>
                        <a:t>Leverage data to provide customers with a tailored shopping experience and improve satisfaction</a:t>
                      </a:r>
                      <a:endParaRPr lang="zh-CN" altLang="en-US"/>
                    </a:p>
                  </a:txBody>
                  <a:tcPr anchor="ctr"/>
                </a:tc>
                <a:extLst>
                  <a:ext uri="{0D108BD9-81ED-4DB2-BD59-A6C34878D82A}">
                    <a16:rowId xmlns:a16="http://schemas.microsoft.com/office/drawing/2014/main" val="1076903950"/>
                  </a:ext>
                </a:extLst>
              </a:tr>
            </a:tbl>
          </a:graphicData>
        </a:graphic>
      </p:graphicFrame>
      <p:sp>
        <p:nvSpPr>
          <p:cNvPr id="3" name="文本框 2">
            <a:extLst>
              <a:ext uri="{FF2B5EF4-FFF2-40B4-BE49-F238E27FC236}">
                <a16:creationId xmlns:a16="http://schemas.microsoft.com/office/drawing/2014/main" id="{04661DBF-CF7A-38F1-9FF1-05A07C9BE46A}"/>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7</a:t>
            </a:r>
          </a:p>
        </p:txBody>
      </p:sp>
    </p:spTree>
    <p:extLst>
      <p:ext uri="{BB962C8B-B14F-4D97-AF65-F5344CB8AC3E}">
        <p14:creationId xmlns:p14="http://schemas.microsoft.com/office/powerpoint/2010/main" val="1509561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1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3D88D18-E1AF-7F3A-F8CA-03CF8C9EA569}"/>
              </a:ext>
            </a:extLst>
          </p:cNvPr>
          <p:cNvGraphicFramePr>
            <a:graphicFrameLocks noChangeAspect="1"/>
          </p:cNvGraphicFramePr>
          <p:nvPr>
            <p:custDataLst>
              <p:tags r:id="rId1"/>
            </p:custDataLst>
            <p:extLst>
              <p:ext uri="{D42A27DB-BD31-4B8C-83A1-F6EECF244321}">
                <p14:modId xmlns:p14="http://schemas.microsoft.com/office/powerpoint/2010/main" val="3794358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A3D88D18-E1AF-7F3A-F8CA-03CF8C9EA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5" name="Google Shape;315;p48"/>
          <p:cNvSpPr txBox="1">
            <a:spLocks noGrp="1"/>
          </p:cNvSpPr>
          <p:nvPr>
            <p:ph type="title"/>
          </p:nvPr>
        </p:nvSpPr>
        <p:spPr>
          <a:xfrm>
            <a:off x="4387800" y="2393650"/>
            <a:ext cx="4043100" cy="1457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ltLang="zh-CN" sz="3600"/>
              <a:t>Data</a:t>
            </a:r>
            <a:r>
              <a:rPr lang="zh-CN" altLang="en-US" sz="3600"/>
              <a:t> </a:t>
            </a:r>
            <a:r>
              <a:rPr lang="en-US" altLang="zh-CN" sz="3600"/>
              <a:t>Ingestion</a:t>
            </a:r>
            <a:r>
              <a:rPr lang="zh-CN" altLang="en-US" sz="3600"/>
              <a:t> </a:t>
            </a:r>
            <a:r>
              <a:rPr lang="en-US" altLang="zh-CN" sz="3600"/>
              <a:t>&amp;</a:t>
            </a:r>
            <a:r>
              <a:rPr lang="zh-CN" altLang="en-US" sz="3600"/>
              <a:t> </a:t>
            </a:r>
            <a:r>
              <a:rPr lang="en-US" altLang="zh-CN" sz="3600"/>
              <a:t>Preparation</a:t>
            </a:r>
            <a:endParaRPr lang="en-US" sz="3600"/>
          </a:p>
        </p:txBody>
      </p:sp>
      <p:pic>
        <p:nvPicPr>
          <p:cNvPr id="317" name="Google Shape;317;p48"/>
          <p:cNvPicPr preferRelativeResize="0"/>
          <p:nvPr/>
        </p:nvPicPr>
        <p:blipFill>
          <a:blip r:embed="rId6">
            <a:alphaModFix/>
          </a:blip>
          <a:stretch>
            <a:fillRect/>
          </a:stretch>
        </p:blipFill>
        <p:spPr>
          <a:xfrm>
            <a:off x="237250" y="995639"/>
            <a:ext cx="4334751" cy="3152222"/>
          </a:xfrm>
          <a:prstGeom prst="rect">
            <a:avLst/>
          </a:prstGeom>
          <a:noFill/>
          <a:ln>
            <a:noFill/>
          </a:ln>
        </p:spPr>
      </p:pic>
      <p:sp>
        <p:nvSpPr>
          <p:cNvPr id="318" name="Google Shape;318;p48"/>
          <p:cNvSpPr txBox="1">
            <a:spLocks noGrp="1"/>
          </p:cNvSpPr>
          <p:nvPr>
            <p:ph type="title" idx="2"/>
          </p:nvPr>
        </p:nvSpPr>
        <p:spPr>
          <a:xfrm>
            <a:off x="5782950" y="1027350"/>
            <a:ext cx="1252800" cy="1251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2</a:t>
            </a:r>
            <a:endParaRPr/>
          </a:p>
        </p:txBody>
      </p:sp>
      <p:sp>
        <p:nvSpPr>
          <p:cNvPr id="4" name="文本框 3">
            <a:extLst>
              <a:ext uri="{FF2B5EF4-FFF2-40B4-BE49-F238E27FC236}">
                <a16:creationId xmlns:a16="http://schemas.microsoft.com/office/drawing/2014/main" id="{679267FE-697C-B63A-21DB-66F301DC3C00}"/>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8</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D8EC45-D1A8-25E3-ABE5-A23FDFE4E84A}"/>
              </a:ext>
            </a:extLst>
          </p:cNvPr>
          <p:cNvGraphicFramePr>
            <a:graphicFrameLocks noChangeAspect="1"/>
          </p:cNvGraphicFramePr>
          <p:nvPr>
            <p:custDataLst>
              <p:tags r:id="rId1"/>
            </p:custDataLst>
            <p:extLst>
              <p:ext uri="{D42A27DB-BD31-4B8C-83A1-F6EECF244321}">
                <p14:modId xmlns:p14="http://schemas.microsoft.com/office/powerpoint/2010/main" val="123872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5" imgH="424" progId="TCLayout.ActiveDocument.1">
                  <p:embed/>
                </p:oleObj>
              </mc:Choice>
              <mc:Fallback>
                <p:oleObj name="think-cell 幻灯片" r:id="rId4" imgW="425" imgH="424" progId="TCLayout.ActiveDocument.1">
                  <p:embed/>
                  <p:pic>
                    <p:nvPicPr>
                      <p:cNvPr id="2" name="think-cell data - do not delete" hidden="1">
                        <a:extLst>
                          <a:ext uri="{FF2B5EF4-FFF2-40B4-BE49-F238E27FC236}">
                            <a16:creationId xmlns:a16="http://schemas.microsoft.com/office/drawing/2014/main" id="{14D8EC45-D1A8-25E3-ABE5-A23FDFE4E8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3" name="Google Shape;293;p46"/>
          <p:cNvSpPr txBox="1">
            <a:spLocks noGrp="1"/>
          </p:cNvSpPr>
          <p:nvPr>
            <p:ph type="title"/>
          </p:nvPr>
        </p:nvSpPr>
        <p:spPr>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r>
              <a:rPr lang="en-US" altLang="zh-CN"/>
              <a:t>Data Profile</a:t>
            </a:r>
            <a:endParaRPr lang="en-US"/>
          </a:p>
        </p:txBody>
      </p:sp>
      <p:graphicFrame>
        <p:nvGraphicFramePr>
          <p:cNvPr id="14" name="表格 3">
            <a:extLst>
              <a:ext uri="{FF2B5EF4-FFF2-40B4-BE49-F238E27FC236}">
                <a16:creationId xmlns:a16="http://schemas.microsoft.com/office/drawing/2014/main" id="{637BD348-5429-9306-8A9A-14F4929156F6}"/>
              </a:ext>
            </a:extLst>
          </p:cNvPr>
          <p:cNvGraphicFramePr>
            <a:graphicFrameLocks noGrp="1"/>
          </p:cNvGraphicFramePr>
          <p:nvPr>
            <p:extLst>
              <p:ext uri="{D42A27DB-BD31-4B8C-83A1-F6EECF244321}">
                <p14:modId xmlns:p14="http://schemas.microsoft.com/office/powerpoint/2010/main" val="1208829007"/>
              </p:ext>
            </p:extLst>
          </p:nvPr>
        </p:nvGraphicFramePr>
        <p:xfrm>
          <a:off x="775674" y="1215665"/>
          <a:ext cx="7592651" cy="3388435"/>
        </p:xfrm>
        <a:graphic>
          <a:graphicData uri="http://schemas.openxmlformats.org/drawingml/2006/table">
            <a:tbl>
              <a:tblPr firstRow="1" bandRow="1">
                <a:tableStyleId>{5C22544A-7EE6-4342-B048-85BDC9FD1C3A}</a:tableStyleId>
              </a:tblPr>
              <a:tblGrid>
                <a:gridCol w="4842032">
                  <a:extLst>
                    <a:ext uri="{9D8B030D-6E8A-4147-A177-3AD203B41FA5}">
                      <a16:colId xmlns:a16="http://schemas.microsoft.com/office/drawing/2014/main" val="920872081"/>
                    </a:ext>
                  </a:extLst>
                </a:gridCol>
                <a:gridCol w="1388122">
                  <a:extLst>
                    <a:ext uri="{9D8B030D-6E8A-4147-A177-3AD203B41FA5}">
                      <a16:colId xmlns:a16="http://schemas.microsoft.com/office/drawing/2014/main" val="2247020507"/>
                    </a:ext>
                  </a:extLst>
                </a:gridCol>
                <a:gridCol w="1362497">
                  <a:extLst>
                    <a:ext uri="{9D8B030D-6E8A-4147-A177-3AD203B41FA5}">
                      <a16:colId xmlns:a16="http://schemas.microsoft.com/office/drawing/2014/main" val="1337515812"/>
                    </a:ext>
                  </a:extLst>
                </a:gridCol>
              </a:tblGrid>
              <a:tr h="330215">
                <a:tc>
                  <a:txBody>
                    <a:bodyPr/>
                    <a:lstStyle/>
                    <a:p>
                      <a:r>
                        <a:rPr lang="zh-CN" altLang="en-US">
                          <a:latin typeface="Calibri"/>
                        </a:rPr>
                        <a:t>Useful Information</a:t>
                      </a:r>
                    </a:p>
                  </a:txBody>
                  <a:tcPr anchor="ctr"/>
                </a:tc>
                <a:tc>
                  <a:txBody>
                    <a:bodyPr/>
                    <a:lstStyle/>
                    <a:p>
                      <a:r>
                        <a:rPr lang="zh-CN" altLang="en-US">
                          <a:latin typeface="Calibri"/>
                        </a:rPr>
                        <a:t>Data Size</a:t>
                      </a:r>
                    </a:p>
                  </a:txBody>
                  <a:tcPr anchor="ctr"/>
                </a:tc>
                <a:tc>
                  <a:txBody>
                    <a:bodyPr/>
                    <a:lstStyle/>
                    <a:p>
                      <a:r>
                        <a:rPr lang="zh-CN" altLang="en-US">
                          <a:latin typeface="Calibri"/>
                        </a:rPr>
                        <a:t>Rows/Cols</a:t>
                      </a:r>
                    </a:p>
                  </a:txBody>
                  <a:tcPr anchor="ctr"/>
                </a:tc>
                <a:extLst>
                  <a:ext uri="{0D108BD9-81ED-4DB2-BD59-A6C34878D82A}">
                    <a16:rowId xmlns:a16="http://schemas.microsoft.com/office/drawing/2014/main" val="1336854878"/>
                  </a:ext>
                </a:extLst>
              </a:tr>
              <a:tr h="194244">
                <a:tc>
                  <a:txBody>
                    <a:bodyPr/>
                    <a:lstStyle/>
                    <a:p>
                      <a:r>
                        <a:rPr lang="zh-CN" altLang="en-US">
                          <a:latin typeface="Calibri"/>
                        </a:rPr>
                        <a:t>Customers Data: customer id, location</a:t>
                      </a:r>
                    </a:p>
                  </a:txBody>
                  <a:tcPr anchor="ctr"/>
                </a:tc>
                <a:tc>
                  <a:txBody>
                    <a:bodyPr/>
                    <a:lstStyle/>
                    <a:p>
                      <a:r>
                        <a:rPr lang="zh-CN" altLang="en-US">
                          <a:latin typeface="Calibri"/>
                        </a:rPr>
                        <a:t>8.6 MB</a:t>
                      </a:r>
                    </a:p>
                  </a:txBody>
                  <a:tcPr anchor="ctr"/>
                </a:tc>
                <a:tc>
                  <a:txBody>
                    <a:bodyPr/>
                    <a:lstStyle/>
                    <a:p>
                      <a:r>
                        <a:rPr lang="zh-CN" altLang="en-US">
                          <a:latin typeface="Calibri"/>
                        </a:rPr>
                        <a:t>99</a:t>
                      </a:r>
                      <a:r>
                        <a:rPr lang="en-US" altLang="zh-CN">
                          <a:latin typeface="Calibri"/>
                        </a:rPr>
                        <a:t>k </a:t>
                      </a:r>
                      <a:r>
                        <a:rPr lang="zh-CN" altLang="en-US">
                          <a:latin typeface="Calibri"/>
                        </a:rPr>
                        <a:t>/ 5</a:t>
                      </a:r>
                    </a:p>
                  </a:txBody>
                  <a:tcPr anchor="ctr"/>
                </a:tc>
                <a:extLst>
                  <a:ext uri="{0D108BD9-81ED-4DB2-BD59-A6C34878D82A}">
                    <a16:rowId xmlns:a16="http://schemas.microsoft.com/office/drawing/2014/main" val="1647269208"/>
                  </a:ext>
                </a:extLst>
              </a:tr>
              <a:tr h="194244">
                <a:tc>
                  <a:txBody>
                    <a:bodyPr/>
                    <a:lstStyle/>
                    <a:p>
                      <a:r>
                        <a:rPr lang="zh-CN" altLang="en-US">
                          <a:latin typeface="Calibri"/>
                        </a:rPr>
                        <a:t>Geolocation Data: zipcode, city, state</a:t>
                      </a:r>
                    </a:p>
                  </a:txBody>
                  <a:tcPr anchor="ctr"/>
                </a:tc>
                <a:tc>
                  <a:txBody>
                    <a:bodyPr/>
                    <a:lstStyle/>
                    <a:p>
                      <a:r>
                        <a:rPr lang="zh-CN" altLang="en-US">
                          <a:latin typeface="Calibri"/>
                        </a:rPr>
                        <a:t>1 MB</a:t>
                      </a:r>
                    </a:p>
                  </a:txBody>
                  <a:tcPr anchor="ctr"/>
                </a:tc>
                <a:tc>
                  <a:txBody>
                    <a:bodyPr/>
                    <a:lstStyle/>
                    <a:p>
                      <a:r>
                        <a:rPr lang="zh-CN" altLang="en-US">
                          <a:latin typeface="Calibri"/>
                        </a:rPr>
                        <a:t>19</a:t>
                      </a:r>
                      <a:r>
                        <a:rPr lang="en-US" altLang="zh-CN">
                          <a:latin typeface="Calibri"/>
                        </a:rPr>
                        <a:t>k </a:t>
                      </a:r>
                      <a:r>
                        <a:rPr lang="zh-CN" altLang="en-US">
                          <a:latin typeface="Calibri"/>
                        </a:rPr>
                        <a:t>/ 6</a:t>
                      </a:r>
                    </a:p>
                  </a:txBody>
                  <a:tcPr anchor="ctr"/>
                </a:tc>
                <a:extLst>
                  <a:ext uri="{0D108BD9-81ED-4DB2-BD59-A6C34878D82A}">
                    <a16:rowId xmlns:a16="http://schemas.microsoft.com/office/drawing/2014/main" val="2650503609"/>
                  </a:ext>
                </a:extLst>
              </a:tr>
              <a:tr h="330215">
                <a:tc>
                  <a:txBody>
                    <a:bodyPr/>
                    <a:lstStyle/>
                    <a:p>
                      <a:r>
                        <a:rPr lang="zh-CN" altLang="en-US">
                          <a:latin typeface="Calibri"/>
                        </a:rPr>
                        <a:t>Order Items Data: order, product, seller, shipping</a:t>
                      </a:r>
                    </a:p>
                  </a:txBody>
                  <a:tcPr anchor="ctr"/>
                </a:tc>
                <a:tc>
                  <a:txBody>
                    <a:bodyPr/>
                    <a:lstStyle/>
                    <a:p>
                      <a:r>
                        <a:rPr lang="zh-CN" altLang="en-US">
                          <a:latin typeface="Calibri"/>
                        </a:rPr>
                        <a:t>14.7 MB</a:t>
                      </a:r>
                    </a:p>
                  </a:txBody>
                  <a:tcPr anchor="ctr"/>
                </a:tc>
                <a:tc>
                  <a:txBody>
                    <a:bodyPr/>
                    <a:lstStyle/>
                    <a:p>
                      <a:r>
                        <a:rPr lang="zh-CN" altLang="en-US">
                          <a:latin typeface="Calibri"/>
                        </a:rPr>
                        <a:t>11</a:t>
                      </a:r>
                      <a:r>
                        <a:rPr lang="en-US" altLang="zh-CN">
                          <a:latin typeface="Calibri"/>
                        </a:rPr>
                        <a:t>3k </a:t>
                      </a:r>
                      <a:r>
                        <a:rPr lang="zh-CN" altLang="en-US">
                          <a:latin typeface="Calibri"/>
                        </a:rPr>
                        <a:t>/ 7</a:t>
                      </a:r>
                    </a:p>
                  </a:txBody>
                  <a:tcPr anchor="ctr"/>
                </a:tc>
                <a:extLst>
                  <a:ext uri="{0D108BD9-81ED-4DB2-BD59-A6C34878D82A}">
                    <a16:rowId xmlns:a16="http://schemas.microsoft.com/office/drawing/2014/main" val="1076903950"/>
                  </a:ext>
                </a:extLst>
              </a:tr>
              <a:tr h="330215">
                <a:tc>
                  <a:txBody>
                    <a:bodyPr/>
                    <a:lstStyle/>
                    <a:p>
                      <a:r>
                        <a:rPr lang="zh-CN" altLang="en-US">
                          <a:latin typeface="Calibri"/>
                        </a:rPr>
                        <a:t>Order Payments Data: payment type and value</a:t>
                      </a:r>
                    </a:p>
                  </a:txBody>
                  <a:tcPr anchor="ctr"/>
                </a:tc>
                <a:tc>
                  <a:txBody>
                    <a:bodyPr/>
                    <a:lstStyle/>
                    <a:p>
                      <a:r>
                        <a:rPr lang="zh-CN" altLang="en-US">
                          <a:latin typeface="Calibri"/>
                        </a:rPr>
                        <a:t>5.5 MB</a:t>
                      </a:r>
                    </a:p>
                  </a:txBody>
                  <a:tcPr anchor="ctr"/>
                </a:tc>
                <a:tc>
                  <a:txBody>
                    <a:bodyPr/>
                    <a:lstStyle/>
                    <a:p>
                      <a:r>
                        <a:rPr lang="zh-CN" altLang="en-US">
                          <a:latin typeface="Calibri"/>
                        </a:rPr>
                        <a:t>10</a:t>
                      </a:r>
                      <a:r>
                        <a:rPr lang="en-US" altLang="zh-CN">
                          <a:latin typeface="Calibri"/>
                        </a:rPr>
                        <a:t>4k </a:t>
                      </a:r>
                      <a:r>
                        <a:rPr lang="zh-CN" altLang="en-US">
                          <a:latin typeface="Calibri"/>
                        </a:rPr>
                        <a:t>/ 5</a:t>
                      </a:r>
                    </a:p>
                  </a:txBody>
                  <a:tcPr anchor="ctr"/>
                </a:tc>
                <a:extLst>
                  <a:ext uri="{0D108BD9-81ED-4DB2-BD59-A6C34878D82A}">
                    <a16:rowId xmlns:a16="http://schemas.microsoft.com/office/drawing/2014/main" val="1673182200"/>
                  </a:ext>
                </a:extLst>
              </a:tr>
              <a:tr h="330215">
                <a:tc>
                  <a:txBody>
                    <a:bodyPr/>
                    <a:lstStyle/>
                    <a:p>
                      <a:r>
                        <a:rPr lang="zh-CN" altLang="en-US">
                          <a:latin typeface="Calibri"/>
                        </a:rPr>
                        <a:t>Order Reviews Data: review score and comment</a:t>
                      </a:r>
                    </a:p>
                  </a:txBody>
                  <a:tcPr anchor="ctr"/>
                </a:tc>
                <a:tc>
                  <a:txBody>
                    <a:bodyPr/>
                    <a:lstStyle/>
                    <a:p>
                      <a:r>
                        <a:rPr lang="zh-CN" altLang="en-US">
                          <a:latin typeface="Calibri"/>
                        </a:rPr>
                        <a:t>10.9 MB</a:t>
                      </a:r>
                    </a:p>
                  </a:txBody>
                  <a:tcPr anchor="ctr"/>
                </a:tc>
                <a:tc>
                  <a:txBody>
                    <a:bodyPr/>
                    <a:lstStyle/>
                    <a:p>
                      <a:r>
                        <a:rPr lang="zh-CN" altLang="en-US">
                          <a:latin typeface="Calibri"/>
                        </a:rPr>
                        <a:t>99</a:t>
                      </a:r>
                      <a:r>
                        <a:rPr lang="en-US" altLang="zh-CN">
                          <a:latin typeface="Calibri"/>
                        </a:rPr>
                        <a:t>k </a:t>
                      </a:r>
                      <a:r>
                        <a:rPr lang="zh-CN" altLang="en-US">
                          <a:latin typeface="Calibri"/>
                        </a:rPr>
                        <a:t>/ 7</a:t>
                      </a:r>
                    </a:p>
                  </a:txBody>
                  <a:tcPr anchor="ctr"/>
                </a:tc>
                <a:extLst>
                  <a:ext uri="{0D108BD9-81ED-4DB2-BD59-A6C34878D82A}">
                    <a16:rowId xmlns:a16="http://schemas.microsoft.com/office/drawing/2014/main" val="4079501411"/>
                  </a:ext>
                </a:extLst>
              </a:tr>
              <a:tr h="194244">
                <a:tc>
                  <a:txBody>
                    <a:bodyPr/>
                    <a:lstStyle/>
                    <a:p>
                      <a:r>
                        <a:rPr lang="zh-CN" altLang="en-US">
                          <a:latin typeface="Calibri"/>
                        </a:rPr>
                        <a:t>Orders Data: order time, status, delivery</a:t>
                      </a:r>
                    </a:p>
                  </a:txBody>
                  <a:tcPr anchor="ctr"/>
                </a:tc>
                <a:tc>
                  <a:txBody>
                    <a:bodyPr/>
                    <a:lstStyle/>
                    <a:p>
                      <a:r>
                        <a:rPr lang="zh-CN" altLang="en-US">
                          <a:latin typeface="Calibri"/>
                        </a:rPr>
                        <a:t>16.1 MB</a:t>
                      </a:r>
                    </a:p>
                  </a:txBody>
                  <a:tcPr anchor="ctr"/>
                </a:tc>
                <a:tc>
                  <a:txBody>
                    <a:bodyPr/>
                    <a:lstStyle/>
                    <a:p>
                      <a:r>
                        <a:rPr lang="zh-CN" altLang="en-US">
                          <a:latin typeface="Calibri"/>
                        </a:rPr>
                        <a:t>99</a:t>
                      </a:r>
                      <a:r>
                        <a:rPr lang="en-US" altLang="zh-CN">
                          <a:latin typeface="Calibri"/>
                        </a:rPr>
                        <a:t>k </a:t>
                      </a:r>
                      <a:r>
                        <a:rPr lang="zh-CN" altLang="en-US">
                          <a:latin typeface="Calibri"/>
                        </a:rPr>
                        <a:t>/ 8</a:t>
                      </a:r>
                    </a:p>
                  </a:txBody>
                  <a:tcPr anchor="ctr"/>
                </a:tc>
                <a:extLst>
                  <a:ext uri="{0D108BD9-81ED-4DB2-BD59-A6C34878D82A}">
                    <a16:rowId xmlns:a16="http://schemas.microsoft.com/office/drawing/2014/main" val="1810783067"/>
                  </a:ext>
                </a:extLst>
              </a:tr>
              <a:tr h="330215">
                <a:tc>
                  <a:txBody>
                    <a:bodyPr/>
                    <a:lstStyle/>
                    <a:p>
                      <a:r>
                        <a:rPr lang="zh-CN" altLang="en-US">
                          <a:latin typeface="Calibri"/>
                        </a:rPr>
                        <a:t>Products Data: product profile, category, photo quantity</a:t>
                      </a:r>
                    </a:p>
                  </a:txBody>
                  <a:tcPr anchor="ctr"/>
                </a:tc>
                <a:tc>
                  <a:txBody>
                    <a:bodyPr/>
                    <a:lstStyle/>
                    <a:p>
                      <a:r>
                        <a:rPr lang="zh-CN" altLang="en-US">
                          <a:latin typeface="Calibri"/>
                        </a:rPr>
                        <a:t>2.2 MB</a:t>
                      </a:r>
                    </a:p>
                  </a:txBody>
                  <a:tcPr anchor="ctr"/>
                </a:tc>
                <a:tc>
                  <a:txBody>
                    <a:bodyPr/>
                    <a:lstStyle/>
                    <a:p>
                      <a:r>
                        <a:rPr lang="zh-CN" altLang="en-US">
                          <a:latin typeface="Calibri"/>
                        </a:rPr>
                        <a:t>3</a:t>
                      </a:r>
                      <a:r>
                        <a:rPr lang="en-US" altLang="zh-CN">
                          <a:latin typeface="Calibri"/>
                        </a:rPr>
                        <a:t>3k </a:t>
                      </a:r>
                      <a:r>
                        <a:rPr lang="zh-CN" altLang="en-US">
                          <a:latin typeface="Calibri"/>
                        </a:rPr>
                        <a:t>/ 9</a:t>
                      </a:r>
                    </a:p>
                  </a:txBody>
                  <a:tcPr anchor="ctr"/>
                </a:tc>
                <a:extLst>
                  <a:ext uri="{0D108BD9-81ED-4DB2-BD59-A6C34878D82A}">
                    <a16:rowId xmlns:a16="http://schemas.microsoft.com/office/drawing/2014/main" val="2623821189"/>
                  </a:ext>
                </a:extLst>
              </a:tr>
              <a:tr h="194244">
                <a:tc>
                  <a:txBody>
                    <a:bodyPr/>
                    <a:lstStyle/>
                    <a:p>
                      <a:pPr lvl="0">
                        <a:buNone/>
                      </a:pPr>
                      <a:r>
                        <a:rPr lang="zh-CN" altLang="en-US">
                          <a:latin typeface="Calibri"/>
                        </a:rPr>
                        <a:t>Sellers Data: seller id, location</a:t>
                      </a:r>
                    </a:p>
                  </a:txBody>
                  <a:tcPr anchor="ctr"/>
                </a:tc>
                <a:tc>
                  <a:txBody>
                    <a:bodyPr/>
                    <a:lstStyle/>
                    <a:p>
                      <a:pPr lvl="0">
                        <a:buNone/>
                      </a:pPr>
                      <a:r>
                        <a:rPr lang="zh-CN" altLang="en-US">
                          <a:latin typeface="Calibri"/>
                        </a:rPr>
                        <a:t>171 KB</a:t>
                      </a:r>
                    </a:p>
                  </a:txBody>
                  <a:tcPr anchor="ctr"/>
                </a:tc>
                <a:tc>
                  <a:txBody>
                    <a:bodyPr/>
                    <a:lstStyle/>
                    <a:p>
                      <a:pPr lvl="0">
                        <a:buNone/>
                      </a:pPr>
                      <a:r>
                        <a:rPr lang="zh-CN" altLang="en-US">
                          <a:latin typeface="Calibri"/>
                        </a:rPr>
                        <a:t>3</a:t>
                      </a:r>
                      <a:r>
                        <a:rPr lang="en-US" altLang="zh-CN">
                          <a:latin typeface="Calibri"/>
                        </a:rPr>
                        <a:t>k </a:t>
                      </a:r>
                      <a:r>
                        <a:rPr lang="zh-CN" altLang="en-US">
                          <a:latin typeface="Calibri"/>
                        </a:rPr>
                        <a:t>/ 4</a:t>
                      </a:r>
                    </a:p>
                  </a:txBody>
                  <a:tcPr anchor="ctr"/>
                </a:tc>
                <a:extLst>
                  <a:ext uri="{0D108BD9-81ED-4DB2-BD59-A6C34878D82A}">
                    <a16:rowId xmlns:a16="http://schemas.microsoft.com/office/drawing/2014/main" val="2635402573"/>
                  </a:ext>
                </a:extLst>
              </a:tr>
              <a:tr h="466186">
                <a:tc>
                  <a:txBody>
                    <a:bodyPr/>
                    <a:lstStyle/>
                    <a:p>
                      <a:pPr lvl="0">
                        <a:buNone/>
                      </a:pPr>
                      <a:r>
                        <a:rPr lang="zh-CN" altLang="en-US">
                          <a:latin typeface="Calibri"/>
                        </a:rPr>
                        <a:t>Brazil Macro</a:t>
                      </a:r>
                      <a:r>
                        <a:rPr lang="en-US" altLang="zh-CN">
                          <a:latin typeface="Calibri"/>
                        </a:rPr>
                        <a:t>-</a:t>
                      </a:r>
                      <a:r>
                        <a:rPr lang="zh-CN" altLang="en-US">
                          <a:latin typeface="Calibri"/>
                        </a:rPr>
                        <a:t>economic Data: </a:t>
                      </a:r>
                      <a:r>
                        <a:rPr lang="en-US" altLang="zh-CN">
                          <a:latin typeface="Calibri"/>
                        </a:rPr>
                        <a:t>household</a:t>
                      </a:r>
                      <a:r>
                        <a:rPr lang="zh-CN" altLang="en-US">
                          <a:latin typeface="Calibri"/>
                        </a:rPr>
                        <a:t> income, human develop index, education (state-level)</a:t>
                      </a:r>
                    </a:p>
                  </a:txBody>
                  <a:tcPr anchor="ctr"/>
                </a:tc>
                <a:tc>
                  <a:txBody>
                    <a:bodyPr/>
                    <a:lstStyle/>
                    <a:p>
                      <a:pPr lvl="0">
                        <a:buNone/>
                      </a:pPr>
                      <a:r>
                        <a:rPr lang="zh-CN" altLang="en-US">
                          <a:latin typeface="Calibri"/>
                        </a:rPr>
                        <a:t>2 KB</a:t>
                      </a:r>
                    </a:p>
                  </a:txBody>
                  <a:tcPr anchor="ctr"/>
                </a:tc>
                <a:tc>
                  <a:txBody>
                    <a:bodyPr/>
                    <a:lstStyle/>
                    <a:p>
                      <a:pPr lvl="0">
                        <a:buNone/>
                      </a:pPr>
                      <a:r>
                        <a:rPr lang="zh-CN" altLang="en-US">
                          <a:latin typeface="Calibri"/>
                        </a:rPr>
                        <a:t>27 / 6</a:t>
                      </a:r>
                    </a:p>
                  </a:txBody>
                  <a:tcPr anchor="ctr"/>
                </a:tc>
                <a:extLst>
                  <a:ext uri="{0D108BD9-81ED-4DB2-BD59-A6C34878D82A}">
                    <a16:rowId xmlns:a16="http://schemas.microsoft.com/office/drawing/2014/main" val="1567258107"/>
                  </a:ext>
                </a:extLst>
              </a:tr>
            </a:tbl>
          </a:graphicData>
        </a:graphic>
      </p:graphicFrame>
      <p:sp>
        <p:nvSpPr>
          <p:cNvPr id="4" name="文本框 3">
            <a:extLst>
              <a:ext uri="{FF2B5EF4-FFF2-40B4-BE49-F238E27FC236}">
                <a16:creationId xmlns:a16="http://schemas.microsoft.com/office/drawing/2014/main" id="{F8D5AD6D-A8F6-67C9-CCA1-A6D8E10382BF}"/>
              </a:ext>
            </a:extLst>
          </p:cNvPr>
          <p:cNvSpPr txBox="1"/>
          <p:nvPr/>
        </p:nvSpPr>
        <p:spPr>
          <a:xfrm>
            <a:off x="8034398" y="4733430"/>
            <a:ext cx="77634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zh-CN" altLang="en-US" sz="1000">
                <a:solidFill>
                  <a:schemeClr val="bg1"/>
                </a:solidFill>
              </a:rPr>
              <a:t>9</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commerce and Retail Delivery Business Plan by Slidesgo">
  <a:themeElements>
    <a:clrScheme name="Simple Light">
      <a:dk1>
        <a:srgbClr val="23212E"/>
      </a:dk1>
      <a:lt1>
        <a:srgbClr val="FFFFFF"/>
      </a:lt1>
      <a:dk2>
        <a:srgbClr val="A5004C"/>
      </a:dk2>
      <a:lt2>
        <a:srgbClr val="E0A48F"/>
      </a:lt2>
      <a:accent1>
        <a:srgbClr val="86185E"/>
      </a:accent1>
      <a:accent2>
        <a:srgbClr val="C25B70"/>
      </a:accent2>
      <a:accent3>
        <a:srgbClr val="A33356"/>
      </a:accent3>
      <a:accent4>
        <a:srgbClr val="23212E"/>
      </a:accent4>
      <a:accent5>
        <a:srgbClr val="FFFFFF"/>
      </a:accent5>
      <a:accent6>
        <a:srgbClr val="A5004C"/>
      </a:accent6>
      <a:hlink>
        <a:srgbClr val="A5004C"/>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168D79F7C097E4A8C8E11777FB8842C" ma:contentTypeVersion="7" ma:contentTypeDescription="Create a new document." ma:contentTypeScope="" ma:versionID="ef7e53af87bacae4e3bd1e8422da19b7">
  <xsd:schema xmlns:xsd="http://www.w3.org/2001/XMLSchema" xmlns:xs="http://www.w3.org/2001/XMLSchema" xmlns:p="http://schemas.microsoft.com/office/2006/metadata/properties" xmlns:ns2="adae5647-4e84-4202-b42d-fe255148b003" targetNamespace="http://schemas.microsoft.com/office/2006/metadata/properties" ma:root="true" ma:fieldsID="00145ef6310b2cdaa84202f80b0abe63" ns2:_="">
    <xsd:import namespace="adae5647-4e84-4202-b42d-fe255148b00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ae5647-4e84-4202-b42d-fe255148b0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78FF4C4-AC13-436A-AB23-E9A0EE8FC7C4}">
  <ds:schemaRefs>
    <ds:schemaRef ds:uri="http://schemas.microsoft.com/sharepoint/v3/contenttype/forms"/>
  </ds:schemaRefs>
</ds:datastoreItem>
</file>

<file path=customXml/itemProps2.xml><?xml version="1.0" encoding="utf-8"?>
<ds:datastoreItem xmlns:ds="http://schemas.openxmlformats.org/officeDocument/2006/customXml" ds:itemID="{9D7B54A0-E754-412A-9FA3-24C2602BD8C1}">
  <ds:schemaRefs>
    <ds:schemaRef ds:uri="adae5647-4e84-4202-b42d-fe255148b00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F4F3147-06C0-4231-98F6-B8D3708FF575}">
  <ds:schemaRefs>
    <ds:schemaRef ds:uri="adae5647-4e84-4202-b42d-fe255148b00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16:9)</PresentationFormat>
  <Slides>36</Slides>
  <Notes>26</Notes>
  <HiddenSlides>0</HiddenSlide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E-commerce and Retail Delivery Business Plan by Slidesgo</vt:lpstr>
      <vt:lpstr>Enhancing E-Commerce Recommendation A Tailored Shopping Experience</vt:lpstr>
      <vt:lpstr>Meet Our Team</vt:lpstr>
      <vt:lpstr>Executive Summary &amp; Research Objectives</vt:lpstr>
      <vt:lpstr>Executive Summary &amp; Research Objectives</vt:lpstr>
      <vt:lpstr>Executive Summary</vt:lpstr>
      <vt:lpstr>Research Objectives</vt:lpstr>
      <vt:lpstr>Business Use Case</vt:lpstr>
      <vt:lpstr>Data Ingestion &amp; Preparation</vt:lpstr>
      <vt:lpstr>Data Profile</vt:lpstr>
      <vt:lpstr>Tools for Data Processing</vt:lpstr>
      <vt:lpstr>Data Ingestion</vt:lpstr>
      <vt:lpstr>ETL – Process &amp; Details</vt:lpstr>
      <vt:lpstr>Data Modeling  &amp; Design</vt:lpstr>
      <vt:lpstr>Database Design Consideration</vt:lpstr>
      <vt:lpstr>EER Diagram</vt:lpstr>
      <vt:lpstr>Snowflake Schema</vt:lpstr>
      <vt:lpstr>Data Quality Dimension</vt:lpstr>
      <vt:lpstr>Insights</vt:lpstr>
      <vt:lpstr>Demographics</vt:lpstr>
      <vt:lpstr>of</vt:lpstr>
      <vt:lpstr>PowerPoint Presentation</vt:lpstr>
      <vt:lpstr>Analysis &amp; Recommendations</vt:lpstr>
      <vt:lpstr>PowerPoint Presentation</vt:lpstr>
      <vt:lpstr>PowerPoint Presentation</vt:lpstr>
      <vt:lpstr>PowerPoint Presentation</vt:lpstr>
      <vt:lpstr>PowerPoint Presentation</vt:lpstr>
      <vt:lpstr>Future Work &amp; Preliminary Plan</vt:lpstr>
      <vt:lpstr>PowerPoint Presentation</vt:lpstr>
      <vt:lpstr>PowerPoint Presentation</vt:lpstr>
      <vt:lpstr>Referenc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OMMERCE AND RETAIL DELIVERY BUSINESS PLAN</dc:title>
  <cp:revision>1</cp:revision>
  <dcterms:modified xsi:type="dcterms:W3CDTF">2023-12-08T23:3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68D79F7C097E4A8C8E11777FB8842C</vt:lpwstr>
  </property>
</Properties>
</file>